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svg" ContentType="image/svg+xml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8"/>
  </p:notesMasterIdLst>
  <p:sldIdLst>
    <p:sldId id="256" r:id="rId2"/>
    <p:sldId id="266" r:id="rId3"/>
    <p:sldId id="267" r:id="rId4"/>
    <p:sldId id="268" r:id="rId5"/>
    <p:sldId id="269" r:id="rId6"/>
    <p:sldId id="265" r:id="rId7"/>
  </p:sldIdLst>
  <p:sldSz cx="9144000" cy="5143500" type="screen16x9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62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2F2951"/>
    <a:srgbClr val="253667"/>
    <a:srgbClr val="000000"/>
    <a:srgbClr val="0071CE"/>
    <a:srgbClr val="0F66A3"/>
    <a:srgbClr val="FFC220"/>
    <a:srgbClr val="DE1C24"/>
    <a:srgbClr val="EED5A2"/>
    <a:srgbClr val="FFDB79"/>
    <a:srgbClr val="ECDDA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7039" autoAdjust="0"/>
    <p:restoredTop sz="91494" autoAdjust="0"/>
  </p:normalViewPr>
  <p:slideViewPr>
    <p:cSldViewPr>
      <p:cViewPr varScale="1">
        <p:scale>
          <a:sx n="139" d="100"/>
          <a:sy n="139" d="100"/>
        </p:scale>
        <p:origin x="726" y="126"/>
      </p:cViewPr>
      <p:guideLst>
        <p:guide orient="horz" pos="162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theme" Target="theme/theme1.xml"/><Relationship Id="rId5" Type="http://schemas.openxmlformats.org/officeDocument/2006/relationships/slide" Target="slides/slide4.xml"/><Relationship Id="rId10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B783B17-4072-0549-918C-B9DABD2CC60B}" type="datetimeFigureOut">
              <a:rPr lang="en-US" smtClean="0"/>
              <a:t>9/6/2017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767E41A-056C-B44C-B4F6-D7F9C119556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6257198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767E41A-056C-B44C-B4F6-D7F9C119556F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4732061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../theme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../theme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../theme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bg>
      <p:bgPr>
        <a:solidFill>
          <a:srgbClr val="007DC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" name="Title 1"/>
          <p:cNvSpPr>
            <a:spLocks noGrp="1"/>
          </p:cNvSpPr>
          <p:nvPr>
            <p:ph type="title"/>
          </p:nvPr>
        </p:nvSpPr>
        <p:spPr>
          <a:xfrm>
            <a:off x="430493" y="1277677"/>
            <a:ext cx="4448445" cy="2139553"/>
          </a:xfrm>
        </p:spPr>
        <p:txBody>
          <a:bodyPr anchor="b">
            <a:norm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73" name="Text Placeholder 2"/>
          <p:cNvSpPr>
            <a:spLocks noGrp="1"/>
          </p:cNvSpPr>
          <p:nvPr>
            <p:ph type="body" idx="1"/>
          </p:nvPr>
        </p:nvSpPr>
        <p:spPr>
          <a:xfrm>
            <a:off x="430493" y="3437471"/>
            <a:ext cx="4448445" cy="112514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grpSp>
        <p:nvGrpSpPr>
          <p:cNvPr id="74" name="Group 73"/>
          <p:cNvGrpSpPr>
            <a:grpSpLocks noChangeAspect="1"/>
          </p:cNvGrpSpPr>
          <p:nvPr/>
        </p:nvGrpSpPr>
        <p:grpSpPr bwMode="auto">
          <a:xfrm>
            <a:off x="5320023" y="1657350"/>
            <a:ext cx="2868014" cy="2704260"/>
            <a:chOff x="117" y="3646"/>
            <a:chExt cx="613" cy="578"/>
          </a:xfrm>
        </p:grpSpPr>
        <p:sp>
          <p:nvSpPr>
            <p:cNvPr id="75" name="AutoShape 3"/>
            <p:cNvSpPr>
              <a:spLocks noChangeAspect="1" noChangeArrowheads="1" noTextEdit="1"/>
            </p:cNvSpPr>
            <p:nvPr/>
          </p:nvSpPr>
          <p:spPr bwMode="auto">
            <a:xfrm>
              <a:off x="117" y="3646"/>
              <a:ext cx="613" cy="5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6" name="Freeform 5"/>
            <p:cNvSpPr>
              <a:spLocks/>
            </p:cNvSpPr>
            <p:nvPr/>
          </p:nvSpPr>
          <p:spPr bwMode="auto">
            <a:xfrm>
              <a:off x="125" y="3654"/>
              <a:ext cx="597" cy="562"/>
            </a:xfrm>
            <a:custGeom>
              <a:avLst/>
              <a:gdLst>
                <a:gd name="T0" fmla="*/ 1572 w 3628"/>
                <a:gd name="T1" fmla="*/ 3344 h 3371"/>
                <a:gd name="T2" fmla="*/ 1411 w 3628"/>
                <a:gd name="T3" fmla="*/ 3284 h 3371"/>
                <a:gd name="T4" fmla="*/ 1402 w 3628"/>
                <a:gd name="T5" fmla="*/ 3281 h 3371"/>
                <a:gd name="T6" fmla="*/ 904 w 3628"/>
                <a:gd name="T7" fmla="*/ 3064 h 3371"/>
                <a:gd name="T8" fmla="*/ 500 w 3628"/>
                <a:gd name="T9" fmla="*/ 2789 h 3371"/>
                <a:gd name="T10" fmla="*/ 347 w 3628"/>
                <a:gd name="T11" fmla="*/ 2452 h 3371"/>
                <a:gd name="T12" fmla="*/ 323 w 3628"/>
                <a:gd name="T13" fmla="*/ 2223 h 3371"/>
                <a:gd name="T14" fmla="*/ 313 w 3628"/>
                <a:gd name="T15" fmla="*/ 2061 h 3371"/>
                <a:gd name="T16" fmla="*/ 0 w 3628"/>
                <a:gd name="T17" fmla="*/ 1872 h 3371"/>
                <a:gd name="T18" fmla="*/ 186 w 3628"/>
                <a:gd name="T19" fmla="*/ 1056 h 3371"/>
                <a:gd name="T20" fmla="*/ 241 w 3628"/>
                <a:gd name="T21" fmla="*/ 1046 h 3371"/>
                <a:gd name="T22" fmla="*/ 234 w 3628"/>
                <a:gd name="T23" fmla="*/ 940 h 3371"/>
                <a:gd name="T24" fmla="*/ 218 w 3628"/>
                <a:gd name="T25" fmla="*/ 716 h 3371"/>
                <a:gd name="T26" fmla="*/ 214 w 3628"/>
                <a:gd name="T27" fmla="*/ 670 h 3371"/>
                <a:gd name="T28" fmla="*/ 213 w 3628"/>
                <a:gd name="T29" fmla="*/ 665 h 3371"/>
                <a:gd name="T30" fmla="*/ 205 w 3628"/>
                <a:gd name="T31" fmla="*/ 516 h 3371"/>
                <a:gd name="T32" fmla="*/ 341 w 3628"/>
                <a:gd name="T33" fmla="*/ 166 h 3371"/>
                <a:gd name="T34" fmla="*/ 679 w 3628"/>
                <a:gd name="T35" fmla="*/ 2 h 3371"/>
                <a:gd name="T36" fmla="*/ 698 w 3628"/>
                <a:gd name="T37" fmla="*/ 1 h 3371"/>
                <a:gd name="T38" fmla="*/ 2914 w 3628"/>
                <a:gd name="T39" fmla="*/ 0 h 3371"/>
                <a:gd name="T40" fmla="*/ 3259 w 3628"/>
                <a:gd name="T41" fmla="*/ 132 h 3371"/>
                <a:gd name="T42" fmla="*/ 3425 w 3628"/>
                <a:gd name="T43" fmla="*/ 467 h 3371"/>
                <a:gd name="T44" fmla="*/ 3423 w 3628"/>
                <a:gd name="T45" fmla="*/ 597 h 3371"/>
                <a:gd name="T46" fmla="*/ 3423 w 3628"/>
                <a:gd name="T47" fmla="*/ 618 h 3371"/>
                <a:gd name="T48" fmla="*/ 3410 w 3628"/>
                <a:gd name="T49" fmla="*/ 772 h 3371"/>
                <a:gd name="T50" fmla="*/ 3392 w 3628"/>
                <a:gd name="T51" fmla="*/ 1036 h 3371"/>
                <a:gd name="T52" fmla="*/ 3442 w 3628"/>
                <a:gd name="T53" fmla="*/ 1056 h 3371"/>
                <a:gd name="T54" fmla="*/ 3628 w 3628"/>
                <a:gd name="T55" fmla="*/ 1872 h 3371"/>
                <a:gd name="T56" fmla="*/ 3318 w 3628"/>
                <a:gd name="T57" fmla="*/ 2061 h 3371"/>
                <a:gd name="T58" fmla="*/ 3310 w 3628"/>
                <a:gd name="T59" fmla="*/ 2180 h 3371"/>
                <a:gd name="T60" fmla="*/ 3307 w 3628"/>
                <a:gd name="T61" fmla="*/ 2210 h 3371"/>
                <a:gd name="T62" fmla="*/ 3169 w 3628"/>
                <a:gd name="T63" fmla="*/ 2739 h 3371"/>
                <a:gd name="T64" fmla="*/ 2908 w 3628"/>
                <a:gd name="T65" fmla="*/ 2981 h 3371"/>
                <a:gd name="T66" fmla="*/ 2788 w 3628"/>
                <a:gd name="T67" fmla="*/ 3038 h 3371"/>
                <a:gd name="T68" fmla="*/ 2785 w 3628"/>
                <a:gd name="T69" fmla="*/ 3039 h 3371"/>
                <a:gd name="T70" fmla="*/ 2756 w 3628"/>
                <a:gd name="T71" fmla="*/ 3050 h 3371"/>
                <a:gd name="T72" fmla="*/ 2753 w 3628"/>
                <a:gd name="T73" fmla="*/ 3052 h 3371"/>
                <a:gd name="T74" fmla="*/ 2182 w 3628"/>
                <a:gd name="T75" fmla="*/ 3303 h 3371"/>
                <a:gd name="T76" fmla="*/ 1930 w 3628"/>
                <a:gd name="T77" fmla="*/ 3365 h 33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3628" h="3371">
                  <a:moveTo>
                    <a:pt x="1817" y="3371"/>
                  </a:moveTo>
                  <a:cubicBezTo>
                    <a:pt x="1729" y="3371"/>
                    <a:pt x="1646" y="3362"/>
                    <a:pt x="1572" y="3344"/>
                  </a:cubicBezTo>
                  <a:cubicBezTo>
                    <a:pt x="1571" y="3344"/>
                    <a:pt x="1571" y="3344"/>
                    <a:pt x="1571" y="3344"/>
                  </a:cubicBezTo>
                  <a:cubicBezTo>
                    <a:pt x="1510" y="3328"/>
                    <a:pt x="1458" y="3304"/>
                    <a:pt x="1411" y="3284"/>
                  </a:cubicBezTo>
                  <a:cubicBezTo>
                    <a:pt x="1410" y="3283"/>
                    <a:pt x="1410" y="3283"/>
                    <a:pt x="1410" y="3283"/>
                  </a:cubicBezTo>
                  <a:cubicBezTo>
                    <a:pt x="1402" y="3281"/>
                    <a:pt x="1402" y="3281"/>
                    <a:pt x="1402" y="3281"/>
                  </a:cubicBezTo>
                  <a:cubicBezTo>
                    <a:pt x="1401" y="3280"/>
                    <a:pt x="1401" y="3280"/>
                    <a:pt x="1401" y="3280"/>
                  </a:cubicBezTo>
                  <a:cubicBezTo>
                    <a:pt x="1219" y="3202"/>
                    <a:pt x="1059" y="3132"/>
                    <a:pt x="904" y="3064"/>
                  </a:cubicBezTo>
                  <a:cubicBezTo>
                    <a:pt x="861" y="3045"/>
                    <a:pt x="819" y="3026"/>
                    <a:pt x="777" y="3008"/>
                  </a:cubicBezTo>
                  <a:cubicBezTo>
                    <a:pt x="673" y="2961"/>
                    <a:pt x="580" y="2888"/>
                    <a:pt x="500" y="2789"/>
                  </a:cubicBezTo>
                  <a:cubicBezTo>
                    <a:pt x="500" y="2788"/>
                    <a:pt x="500" y="2788"/>
                    <a:pt x="500" y="2788"/>
                  </a:cubicBezTo>
                  <a:cubicBezTo>
                    <a:pt x="416" y="2681"/>
                    <a:pt x="366" y="2571"/>
                    <a:pt x="347" y="2452"/>
                  </a:cubicBezTo>
                  <a:cubicBezTo>
                    <a:pt x="342" y="2422"/>
                    <a:pt x="339" y="2395"/>
                    <a:pt x="336" y="2369"/>
                  </a:cubicBezTo>
                  <a:cubicBezTo>
                    <a:pt x="323" y="2223"/>
                    <a:pt x="323" y="2223"/>
                    <a:pt x="323" y="2223"/>
                  </a:cubicBezTo>
                  <a:cubicBezTo>
                    <a:pt x="323" y="2221"/>
                    <a:pt x="323" y="2221"/>
                    <a:pt x="323" y="2221"/>
                  </a:cubicBezTo>
                  <a:cubicBezTo>
                    <a:pt x="323" y="2218"/>
                    <a:pt x="322" y="2198"/>
                    <a:pt x="313" y="2061"/>
                  </a:cubicBezTo>
                  <a:cubicBezTo>
                    <a:pt x="186" y="2061"/>
                    <a:pt x="186" y="2061"/>
                    <a:pt x="186" y="2061"/>
                  </a:cubicBezTo>
                  <a:cubicBezTo>
                    <a:pt x="84" y="2061"/>
                    <a:pt x="0" y="1976"/>
                    <a:pt x="0" y="1872"/>
                  </a:cubicBezTo>
                  <a:cubicBezTo>
                    <a:pt x="0" y="1242"/>
                    <a:pt x="0" y="1242"/>
                    <a:pt x="0" y="1242"/>
                  </a:cubicBezTo>
                  <a:cubicBezTo>
                    <a:pt x="0" y="1139"/>
                    <a:pt x="84" y="1056"/>
                    <a:pt x="186" y="1056"/>
                  </a:cubicBezTo>
                  <a:cubicBezTo>
                    <a:pt x="242" y="1056"/>
                    <a:pt x="242" y="1056"/>
                    <a:pt x="242" y="1056"/>
                  </a:cubicBezTo>
                  <a:cubicBezTo>
                    <a:pt x="242" y="1055"/>
                    <a:pt x="242" y="1048"/>
                    <a:pt x="241" y="1046"/>
                  </a:cubicBezTo>
                  <a:cubicBezTo>
                    <a:pt x="240" y="1045"/>
                    <a:pt x="240" y="1045"/>
                    <a:pt x="240" y="1045"/>
                  </a:cubicBezTo>
                  <a:cubicBezTo>
                    <a:pt x="234" y="940"/>
                    <a:pt x="234" y="940"/>
                    <a:pt x="234" y="940"/>
                  </a:cubicBezTo>
                  <a:cubicBezTo>
                    <a:pt x="231" y="903"/>
                    <a:pt x="229" y="865"/>
                    <a:pt x="226" y="827"/>
                  </a:cubicBezTo>
                  <a:cubicBezTo>
                    <a:pt x="223" y="790"/>
                    <a:pt x="221" y="753"/>
                    <a:pt x="218" y="716"/>
                  </a:cubicBezTo>
                  <a:cubicBezTo>
                    <a:pt x="217" y="708"/>
                    <a:pt x="216" y="699"/>
                    <a:pt x="216" y="690"/>
                  </a:cubicBezTo>
                  <a:cubicBezTo>
                    <a:pt x="215" y="683"/>
                    <a:pt x="215" y="676"/>
                    <a:pt x="214" y="670"/>
                  </a:cubicBezTo>
                  <a:cubicBezTo>
                    <a:pt x="213" y="668"/>
                    <a:pt x="213" y="668"/>
                    <a:pt x="213" y="668"/>
                  </a:cubicBezTo>
                  <a:cubicBezTo>
                    <a:pt x="213" y="665"/>
                    <a:pt x="213" y="665"/>
                    <a:pt x="213" y="665"/>
                  </a:cubicBezTo>
                  <a:cubicBezTo>
                    <a:pt x="212" y="649"/>
                    <a:pt x="211" y="633"/>
                    <a:pt x="210" y="618"/>
                  </a:cubicBezTo>
                  <a:cubicBezTo>
                    <a:pt x="208" y="585"/>
                    <a:pt x="205" y="552"/>
                    <a:pt x="205" y="516"/>
                  </a:cubicBezTo>
                  <a:cubicBezTo>
                    <a:pt x="205" y="386"/>
                    <a:pt x="253" y="262"/>
                    <a:pt x="341" y="166"/>
                  </a:cubicBezTo>
                  <a:cubicBezTo>
                    <a:pt x="341" y="166"/>
                    <a:pt x="341" y="166"/>
                    <a:pt x="341" y="166"/>
                  </a:cubicBezTo>
                  <a:cubicBezTo>
                    <a:pt x="430" y="72"/>
                    <a:pt x="549" y="13"/>
                    <a:pt x="677" y="2"/>
                  </a:cubicBezTo>
                  <a:cubicBezTo>
                    <a:pt x="679" y="2"/>
                    <a:pt x="679" y="2"/>
                    <a:pt x="679" y="2"/>
                  </a:cubicBezTo>
                  <a:cubicBezTo>
                    <a:pt x="681" y="2"/>
                    <a:pt x="681" y="2"/>
                    <a:pt x="681" y="2"/>
                  </a:cubicBezTo>
                  <a:cubicBezTo>
                    <a:pt x="687" y="2"/>
                    <a:pt x="692" y="2"/>
                    <a:pt x="698" y="1"/>
                  </a:cubicBezTo>
                  <a:cubicBezTo>
                    <a:pt x="706" y="0"/>
                    <a:pt x="715" y="0"/>
                    <a:pt x="725" y="0"/>
                  </a:cubicBezTo>
                  <a:cubicBezTo>
                    <a:pt x="2914" y="0"/>
                    <a:pt x="2914" y="0"/>
                    <a:pt x="2914" y="0"/>
                  </a:cubicBezTo>
                  <a:cubicBezTo>
                    <a:pt x="3039" y="0"/>
                    <a:pt x="3161" y="47"/>
                    <a:pt x="3258" y="132"/>
                  </a:cubicBezTo>
                  <a:cubicBezTo>
                    <a:pt x="3259" y="132"/>
                    <a:pt x="3259" y="132"/>
                    <a:pt x="3259" y="132"/>
                  </a:cubicBezTo>
                  <a:cubicBezTo>
                    <a:pt x="3355" y="220"/>
                    <a:pt x="3414" y="339"/>
                    <a:pt x="3425" y="466"/>
                  </a:cubicBezTo>
                  <a:cubicBezTo>
                    <a:pt x="3425" y="467"/>
                    <a:pt x="3425" y="467"/>
                    <a:pt x="3425" y="467"/>
                  </a:cubicBezTo>
                  <a:cubicBezTo>
                    <a:pt x="3425" y="467"/>
                    <a:pt x="3425" y="467"/>
                    <a:pt x="3425" y="467"/>
                  </a:cubicBezTo>
                  <a:cubicBezTo>
                    <a:pt x="3428" y="517"/>
                    <a:pt x="3425" y="561"/>
                    <a:pt x="3423" y="597"/>
                  </a:cubicBezTo>
                  <a:cubicBezTo>
                    <a:pt x="3423" y="616"/>
                    <a:pt x="3423" y="616"/>
                    <a:pt x="3423" y="616"/>
                  </a:cubicBezTo>
                  <a:cubicBezTo>
                    <a:pt x="3423" y="618"/>
                    <a:pt x="3423" y="618"/>
                    <a:pt x="3423" y="618"/>
                  </a:cubicBezTo>
                  <a:cubicBezTo>
                    <a:pt x="3420" y="644"/>
                    <a:pt x="3418" y="669"/>
                    <a:pt x="3416" y="693"/>
                  </a:cubicBezTo>
                  <a:cubicBezTo>
                    <a:pt x="3415" y="719"/>
                    <a:pt x="3413" y="746"/>
                    <a:pt x="3410" y="772"/>
                  </a:cubicBezTo>
                  <a:cubicBezTo>
                    <a:pt x="3410" y="797"/>
                    <a:pt x="3407" y="820"/>
                    <a:pt x="3405" y="842"/>
                  </a:cubicBezTo>
                  <a:cubicBezTo>
                    <a:pt x="3404" y="864"/>
                    <a:pt x="3400" y="922"/>
                    <a:pt x="3392" y="1036"/>
                  </a:cubicBezTo>
                  <a:cubicBezTo>
                    <a:pt x="3390" y="1056"/>
                    <a:pt x="3390" y="1056"/>
                    <a:pt x="3390" y="1056"/>
                  </a:cubicBezTo>
                  <a:cubicBezTo>
                    <a:pt x="3442" y="1056"/>
                    <a:pt x="3442" y="1056"/>
                    <a:pt x="3442" y="1056"/>
                  </a:cubicBezTo>
                  <a:cubicBezTo>
                    <a:pt x="3544" y="1056"/>
                    <a:pt x="3628" y="1139"/>
                    <a:pt x="3628" y="1242"/>
                  </a:cubicBezTo>
                  <a:cubicBezTo>
                    <a:pt x="3628" y="1872"/>
                    <a:pt x="3628" y="1872"/>
                    <a:pt x="3628" y="1872"/>
                  </a:cubicBezTo>
                  <a:cubicBezTo>
                    <a:pt x="3628" y="1976"/>
                    <a:pt x="3544" y="2061"/>
                    <a:pt x="3442" y="2061"/>
                  </a:cubicBezTo>
                  <a:cubicBezTo>
                    <a:pt x="3318" y="2061"/>
                    <a:pt x="3318" y="2061"/>
                    <a:pt x="3318" y="2061"/>
                  </a:cubicBezTo>
                  <a:cubicBezTo>
                    <a:pt x="3317" y="2075"/>
                    <a:pt x="3317" y="2090"/>
                    <a:pt x="3315" y="2106"/>
                  </a:cubicBezTo>
                  <a:cubicBezTo>
                    <a:pt x="3312" y="2130"/>
                    <a:pt x="3310" y="2156"/>
                    <a:pt x="3310" y="2180"/>
                  </a:cubicBezTo>
                  <a:cubicBezTo>
                    <a:pt x="3310" y="2182"/>
                    <a:pt x="3310" y="2182"/>
                    <a:pt x="3310" y="2182"/>
                  </a:cubicBezTo>
                  <a:cubicBezTo>
                    <a:pt x="3307" y="2210"/>
                    <a:pt x="3307" y="2210"/>
                    <a:pt x="3307" y="2210"/>
                  </a:cubicBezTo>
                  <a:cubicBezTo>
                    <a:pt x="3303" y="2258"/>
                    <a:pt x="3299" y="2304"/>
                    <a:pt x="3297" y="2348"/>
                  </a:cubicBezTo>
                  <a:cubicBezTo>
                    <a:pt x="3294" y="2481"/>
                    <a:pt x="3250" y="2616"/>
                    <a:pt x="3169" y="2739"/>
                  </a:cubicBezTo>
                  <a:cubicBezTo>
                    <a:pt x="3168" y="2740"/>
                    <a:pt x="3168" y="2740"/>
                    <a:pt x="3168" y="2740"/>
                  </a:cubicBezTo>
                  <a:cubicBezTo>
                    <a:pt x="3096" y="2846"/>
                    <a:pt x="3003" y="2931"/>
                    <a:pt x="2908" y="2981"/>
                  </a:cubicBezTo>
                  <a:cubicBezTo>
                    <a:pt x="2877" y="2998"/>
                    <a:pt x="2848" y="3011"/>
                    <a:pt x="2820" y="3024"/>
                  </a:cubicBezTo>
                  <a:cubicBezTo>
                    <a:pt x="2809" y="3029"/>
                    <a:pt x="2798" y="3033"/>
                    <a:pt x="2788" y="3038"/>
                  </a:cubicBezTo>
                  <a:cubicBezTo>
                    <a:pt x="2787" y="3039"/>
                    <a:pt x="2787" y="3039"/>
                    <a:pt x="2787" y="3039"/>
                  </a:cubicBezTo>
                  <a:cubicBezTo>
                    <a:pt x="2785" y="3039"/>
                    <a:pt x="2785" y="3039"/>
                    <a:pt x="2785" y="3039"/>
                  </a:cubicBezTo>
                  <a:cubicBezTo>
                    <a:pt x="2779" y="3042"/>
                    <a:pt x="2774" y="3044"/>
                    <a:pt x="2769" y="3045"/>
                  </a:cubicBezTo>
                  <a:cubicBezTo>
                    <a:pt x="2764" y="3047"/>
                    <a:pt x="2759" y="3049"/>
                    <a:pt x="2756" y="3050"/>
                  </a:cubicBezTo>
                  <a:cubicBezTo>
                    <a:pt x="2755" y="3051"/>
                    <a:pt x="2755" y="3051"/>
                    <a:pt x="2755" y="3051"/>
                  </a:cubicBezTo>
                  <a:cubicBezTo>
                    <a:pt x="2753" y="3052"/>
                    <a:pt x="2753" y="3052"/>
                    <a:pt x="2753" y="3052"/>
                  </a:cubicBezTo>
                  <a:cubicBezTo>
                    <a:pt x="2619" y="3110"/>
                    <a:pt x="2486" y="3169"/>
                    <a:pt x="2357" y="3226"/>
                  </a:cubicBezTo>
                  <a:cubicBezTo>
                    <a:pt x="2296" y="3253"/>
                    <a:pt x="2237" y="3278"/>
                    <a:pt x="2182" y="3303"/>
                  </a:cubicBezTo>
                  <a:cubicBezTo>
                    <a:pt x="2181" y="3303"/>
                    <a:pt x="2181" y="3303"/>
                    <a:pt x="2181" y="3303"/>
                  </a:cubicBezTo>
                  <a:cubicBezTo>
                    <a:pt x="2101" y="3337"/>
                    <a:pt x="2019" y="3358"/>
                    <a:pt x="1930" y="3365"/>
                  </a:cubicBezTo>
                  <a:cubicBezTo>
                    <a:pt x="1891" y="3371"/>
                    <a:pt x="1851" y="3371"/>
                    <a:pt x="1817" y="337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7" name="Freeform 6"/>
            <p:cNvSpPr>
              <a:spLocks noEditPoints="1"/>
            </p:cNvSpPr>
            <p:nvPr/>
          </p:nvSpPr>
          <p:spPr bwMode="auto">
            <a:xfrm>
              <a:off x="117" y="3646"/>
              <a:ext cx="613" cy="578"/>
            </a:xfrm>
            <a:custGeom>
              <a:avLst/>
              <a:gdLst>
                <a:gd name="T0" fmla="*/ 3425 w 3722"/>
                <a:gd name="T1" fmla="*/ 518 h 3466"/>
                <a:gd name="T2" fmla="*/ 3409 w 3722"/>
                <a:gd name="T3" fmla="*/ 818 h 3466"/>
                <a:gd name="T4" fmla="*/ 3489 w 3722"/>
                <a:gd name="T5" fmla="*/ 1151 h 3466"/>
                <a:gd name="T6" fmla="*/ 3489 w 3722"/>
                <a:gd name="T7" fmla="*/ 2061 h 3466"/>
                <a:gd name="T8" fmla="*/ 3315 w 3722"/>
                <a:gd name="T9" fmla="*/ 2148 h 3466"/>
                <a:gd name="T10" fmla="*/ 3176 w 3722"/>
                <a:gd name="T11" fmla="*/ 2761 h 3466"/>
                <a:gd name="T12" fmla="*/ 2781 w 3722"/>
                <a:gd name="T13" fmla="*/ 3056 h 3466"/>
                <a:gd name="T14" fmla="*/ 1864 w 3722"/>
                <a:gd name="T15" fmla="*/ 3371 h 3466"/>
                <a:gd name="T16" fmla="*/ 1466 w 3722"/>
                <a:gd name="T17" fmla="*/ 3284 h 3466"/>
                <a:gd name="T18" fmla="*/ 441 w 3722"/>
                <a:gd name="T19" fmla="*/ 2492 h 3466"/>
                <a:gd name="T20" fmla="*/ 405 w 3722"/>
                <a:gd name="T21" fmla="*/ 2061 h 3466"/>
                <a:gd name="T22" fmla="*/ 95 w 3722"/>
                <a:gd name="T23" fmla="*/ 1290 h 3466"/>
                <a:gd name="T24" fmla="*/ 333 w 3722"/>
                <a:gd name="T25" fmla="*/ 1072 h 3466"/>
                <a:gd name="T26" fmla="*/ 308 w 3722"/>
                <a:gd name="T27" fmla="*/ 710 h 3466"/>
                <a:gd name="T28" fmla="*/ 728 w 3722"/>
                <a:gd name="T29" fmla="*/ 98 h 3466"/>
                <a:gd name="T30" fmla="*/ 2961 w 3722"/>
                <a:gd name="T31" fmla="*/ 95 h 3466"/>
                <a:gd name="T32" fmla="*/ 772 w 3722"/>
                <a:gd name="T33" fmla="*/ 0 h 3466"/>
                <a:gd name="T34" fmla="*/ 724 w 3722"/>
                <a:gd name="T35" fmla="*/ 3 h 3466"/>
                <a:gd name="T36" fmla="*/ 353 w 3722"/>
                <a:gd name="T37" fmla="*/ 182 h 3466"/>
                <a:gd name="T38" fmla="*/ 210 w 3722"/>
                <a:gd name="T39" fmla="*/ 669 h 3466"/>
                <a:gd name="T40" fmla="*/ 214 w 3722"/>
                <a:gd name="T41" fmla="*/ 726 h 3466"/>
                <a:gd name="T42" fmla="*/ 226 w 3722"/>
                <a:gd name="T43" fmla="*/ 879 h 3466"/>
                <a:gd name="T44" fmla="*/ 233 w 3722"/>
                <a:gd name="T45" fmla="*/ 1056 h 3466"/>
                <a:gd name="T46" fmla="*/ 0 w 3722"/>
                <a:gd name="T47" fmla="*/ 1920 h 3466"/>
                <a:gd name="T48" fmla="*/ 323 w 3722"/>
                <a:gd name="T49" fmla="*/ 2270 h 3466"/>
                <a:gd name="T50" fmla="*/ 336 w 3722"/>
                <a:gd name="T51" fmla="*/ 2421 h 3466"/>
                <a:gd name="T52" fmla="*/ 347 w 3722"/>
                <a:gd name="T53" fmla="*/ 2508 h 3466"/>
                <a:gd name="T54" fmla="*/ 510 w 3722"/>
                <a:gd name="T55" fmla="*/ 2867 h 3466"/>
                <a:gd name="T56" fmla="*/ 805 w 3722"/>
                <a:gd name="T57" fmla="*/ 3099 h 3466"/>
                <a:gd name="T58" fmla="*/ 1432 w 3722"/>
                <a:gd name="T59" fmla="*/ 3373 h 3466"/>
                <a:gd name="T60" fmla="*/ 1606 w 3722"/>
                <a:gd name="T61" fmla="*/ 3438 h 3466"/>
                <a:gd name="T62" fmla="*/ 1864 w 3722"/>
                <a:gd name="T63" fmla="*/ 3466 h 3466"/>
                <a:gd name="T64" fmla="*/ 2248 w 3722"/>
                <a:gd name="T65" fmla="*/ 3394 h 3466"/>
                <a:gd name="T66" fmla="*/ 2819 w 3722"/>
                <a:gd name="T67" fmla="*/ 3143 h 3466"/>
                <a:gd name="T68" fmla="*/ 2832 w 3722"/>
                <a:gd name="T69" fmla="*/ 3138 h 3466"/>
                <a:gd name="T70" fmla="*/ 2855 w 3722"/>
                <a:gd name="T71" fmla="*/ 3129 h 3466"/>
                <a:gd name="T72" fmla="*/ 3255 w 3722"/>
                <a:gd name="T73" fmla="*/ 2815 h 3466"/>
                <a:gd name="T74" fmla="*/ 3392 w 3722"/>
                <a:gd name="T75" fmla="*/ 2398 h 3466"/>
                <a:gd name="T76" fmla="*/ 3405 w 3722"/>
                <a:gd name="T77" fmla="*/ 2232 h 3466"/>
                <a:gd name="T78" fmla="*/ 3409 w 3722"/>
                <a:gd name="T79" fmla="*/ 2156 h 3466"/>
                <a:gd name="T80" fmla="*/ 3722 w 3722"/>
                <a:gd name="T81" fmla="*/ 1290 h 3466"/>
                <a:gd name="T82" fmla="*/ 3489 w 3722"/>
                <a:gd name="T83" fmla="*/ 1056 h 3466"/>
                <a:gd name="T84" fmla="*/ 3511 w 3722"/>
                <a:gd name="T85" fmla="*/ 745 h 3466"/>
                <a:gd name="T86" fmla="*/ 3517 w 3722"/>
                <a:gd name="T87" fmla="*/ 662 h 3466"/>
                <a:gd name="T88" fmla="*/ 3520 w 3722"/>
                <a:gd name="T89" fmla="*/ 511 h 3466"/>
                <a:gd name="T90" fmla="*/ 3337 w 3722"/>
                <a:gd name="T91" fmla="*/ 145 h 34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722" h="3466">
                  <a:moveTo>
                    <a:pt x="2961" y="95"/>
                  </a:moveTo>
                  <a:cubicBezTo>
                    <a:pt x="3076" y="95"/>
                    <a:pt x="3186" y="139"/>
                    <a:pt x="3274" y="216"/>
                  </a:cubicBezTo>
                  <a:cubicBezTo>
                    <a:pt x="3361" y="295"/>
                    <a:pt x="3415" y="403"/>
                    <a:pt x="3425" y="518"/>
                  </a:cubicBezTo>
                  <a:cubicBezTo>
                    <a:pt x="3427" y="564"/>
                    <a:pt x="3425" y="605"/>
                    <a:pt x="3422" y="644"/>
                  </a:cubicBezTo>
                  <a:cubicBezTo>
                    <a:pt x="3422" y="649"/>
                    <a:pt x="3422" y="657"/>
                    <a:pt x="3422" y="662"/>
                  </a:cubicBezTo>
                  <a:cubicBezTo>
                    <a:pt x="3417" y="716"/>
                    <a:pt x="3415" y="767"/>
                    <a:pt x="3409" y="818"/>
                  </a:cubicBezTo>
                  <a:cubicBezTo>
                    <a:pt x="3409" y="841"/>
                    <a:pt x="3407" y="864"/>
                    <a:pt x="3404" y="887"/>
                  </a:cubicBezTo>
                  <a:cubicBezTo>
                    <a:pt x="3404" y="910"/>
                    <a:pt x="3397" y="1010"/>
                    <a:pt x="3386" y="1151"/>
                  </a:cubicBezTo>
                  <a:cubicBezTo>
                    <a:pt x="3386" y="1151"/>
                    <a:pt x="3386" y="1151"/>
                    <a:pt x="3489" y="1151"/>
                  </a:cubicBezTo>
                  <a:cubicBezTo>
                    <a:pt x="3566" y="1151"/>
                    <a:pt x="3627" y="1213"/>
                    <a:pt x="3627" y="1290"/>
                  </a:cubicBezTo>
                  <a:cubicBezTo>
                    <a:pt x="3627" y="1290"/>
                    <a:pt x="3627" y="1290"/>
                    <a:pt x="3627" y="1920"/>
                  </a:cubicBezTo>
                  <a:cubicBezTo>
                    <a:pt x="3627" y="1997"/>
                    <a:pt x="3566" y="2061"/>
                    <a:pt x="3489" y="2061"/>
                  </a:cubicBezTo>
                  <a:cubicBezTo>
                    <a:pt x="3489" y="2061"/>
                    <a:pt x="3489" y="2061"/>
                    <a:pt x="3320" y="2061"/>
                  </a:cubicBezTo>
                  <a:cubicBezTo>
                    <a:pt x="3320" y="2061"/>
                    <a:pt x="3320" y="2061"/>
                    <a:pt x="3317" y="2095"/>
                  </a:cubicBezTo>
                  <a:cubicBezTo>
                    <a:pt x="3317" y="2113"/>
                    <a:pt x="3317" y="2131"/>
                    <a:pt x="3315" y="2148"/>
                  </a:cubicBezTo>
                  <a:cubicBezTo>
                    <a:pt x="3312" y="2174"/>
                    <a:pt x="3309" y="2202"/>
                    <a:pt x="3309" y="2228"/>
                  </a:cubicBezTo>
                  <a:cubicBezTo>
                    <a:pt x="3304" y="2287"/>
                    <a:pt x="3299" y="2341"/>
                    <a:pt x="3297" y="2395"/>
                  </a:cubicBezTo>
                  <a:cubicBezTo>
                    <a:pt x="3294" y="2520"/>
                    <a:pt x="3250" y="2648"/>
                    <a:pt x="3176" y="2761"/>
                  </a:cubicBezTo>
                  <a:cubicBezTo>
                    <a:pt x="3109" y="2859"/>
                    <a:pt x="3022" y="2941"/>
                    <a:pt x="2933" y="2987"/>
                  </a:cubicBezTo>
                  <a:cubicBezTo>
                    <a:pt x="2892" y="3010"/>
                    <a:pt x="2853" y="3025"/>
                    <a:pt x="2815" y="3043"/>
                  </a:cubicBezTo>
                  <a:cubicBezTo>
                    <a:pt x="2802" y="3048"/>
                    <a:pt x="2792" y="3051"/>
                    <a:pt x="2781" y="3056"/>
                  </a:cubicBezTo>
                  <a:cubicBezTo>
                    <a:pt x="2581" y="3143"/>
                    <a:pt x="2379" y="3233"/>
                    <a:pt x="2210" y="3307"/>
                  </a:cubicBezTo>
                  <a:cubicBezTo>
                    <a:pt x="2138" y="3338"/>
                    <a:pt x="2061" y="3358"/>
                    <a:pt x="1971" y="3366"/>
                  </a:cubicBezTo>
                  <a:cubicBezTo>
                    <a:pt x="1935" y="3371"/>
                    <a:pt x="1897" y="3371"/>
                    <a:pt x="1864" y="3371"/>
                  </a:cubicBezTo>
                  <a:cubicBezTo>
                    <a:pt x="1784" y="3371"/>
                    <a:pt x="1705" y="3364"/>
                    <a:pt x="1630" y="3346"/>
                  </a:cubicBezTo>
                  <a:cubicBezTo>
                    <a:pt x="1571" y="3330"/>
                    <a:pt x="1520" y="3307"/>
                    <a:pt x="1474" y="3287"/>
                  </a:cubicBezTo>
                  <a:cubicBezTo>
                    <a:pt x="1474" y="3287"/>
                    <a:pt x="1474" y="3287"/>
                    <a:pt x="1466" y="3284"/>
                  </a:cubicBezTo>
                  <a:cubicBezTo>
                    <a:pt x="1233" y="3184"/>
                    <a:pt x="1031" y="3094"/>
                    <a:pt x="843" y="3012"/>
                  </a:cubicBezTo>
                  <a:cubicBezTo>
                    <a:pt x="746" y="2969"/>
                    <a:pt x="659" y="2900"/>
                    <a:pt x="584" y="2807"/>
                  </a:cubicBezTo>
                  <a:cubicBezTo>
                    <a:pt x="505" y="2705"/>
                    <a:pt x="459" y="2602"/>
                    <a:pt x="441" y="2492"/>
                  </a:cubicBezTo>
                  <a:cubicBezTo>
                    <a:pt x="436" y="2464"/>
                    <a:pt x="433" y="2438"/>
                    <a:pt x="431" y="2413"/>
                  </a:cubicBezTo>
                  <a:cubicBezTo>
                    <a:pt x="431" y="2413"/>
                    <a:pt x="431" y="2413"/>
                    <a:pt x="418" y="2269"/>
                  </a:cubicBezTo>
                  <a:cubicBezTo>
                    <a:pt x="418" y="2261"/>
                    <a:pt x="413" y="2179"/>
                    <a:pt x="405" y="2061"/>
                  </a:cubicBezTo>
                  <a:cubicBezTo>
                    <a:pt x="405" y="2061"/>
                    <a:pt x="405" y="2061"/>
                    <a:pt x="233" y="2061"/>
                  </a:cubicBezTo>
                  <a:cubicBezTo>
                    <a:pt x="156" y="2061"/>
                    <a:pt x="95" y="1997"/>
                    <a:pt x="95" y="1920"/>
                  </a:cubicBezTo>
                  <a:cubicBezTo>
                    <a:pt x="95" y="1920"/>
                    <a:pt x="95" y="1920"/>
                    <a:pt x="95" y="1290"/>
                  </a:cubicBezTo>
                  <a:cubicBezTo>
                    <a:pt x="95" y="1213"/>
                    <a:pt x="156" y="1151"/>
                    <a:pt x="233" y="1151"/>
                  </a:cubicBezTo>
                  <a:cubicBezTo>
                    <a:pt x="233" y="1151"/>
                    <a:pt x="233" y="1151"/>
                    <a:pt x="341" y="1151"/>
                  </a:cubicBezTo>
                  <a:cubicBezTo>
                    <a:pt x="336" y="1105"/>
                    <a:pt x="336" y="1074"/>
                    <a:pt x="333" y="1072"/>
                  </a:cubicBezTo>
                  <a:cubicBezTo>
                    <a:pt x="333" y="1072"/>
                    <a:pt x="333" y="1072"/>
                    <a:pt x="328" y="985"/>
                  </a:cubicBezTo>
                  <a:cubicBezTo>
                    <a:pt x="323" y="910"/>
                    <a:pt x="318" y="833"/>
                    <a:pt x="313" y="759"/>
                  </a:cubicBezTo>
                  <a:cubicBezTo>
                    <a:pt x="310" y="744"/>
                    <a:pt x="310" y="726"/>
                    <a:pt x="308" y="710"/>
                  </a:cubicBezTo>
                  <a:cubicBezTo>
                    <a:pt x="305" y="662"/>
                    <a:pt x="300" y="616"/>
                    <a:pt x="300" y="564"/>
                  </a:cubicBezTo>
                  <a:cubicBezTo>
                    <a:pt x="300" y="446"/>
                    <a:pt x="343" y="334"/>
                    <a:pt x="423" y="246"/>
                  </a:cubicBezTo>
                  <a:cubicBezTo>
                    <a:pt x="502" y="162"/>
                    <a:pt x="610" y="108"/>
                    <a:pt x="728" y="98"/>
                  </a:cubicBezTo>
                  <a:cubicBezTo>
                    <a:pt x="743" y="98"/>
                    <a:pt x="756" y="95"/>
                    <a:pt x="772" y="95"/>
                  </a:cubicBezTo>
                  <a:cubicBezTo>
                    <a:pt x="1436" y="95"/>
                    <a:pt x="2097" y="95"/>
                    <a:pt x="2761" y="95"/>
                  </a:cubicBezTo>
                  <a:cubicBezTo>
                    <a:pt x="2761" y="95"/>
                    <a:pt x="2761" y="95"/>
                    <a:pt x="2961" y="95"/>
                  </a:cubicBezTo>
                  <a:moveTo>
                    <a:pt x="2961" y="0"/>
                  </a:moveTo>
                  <a:cubicBezTo>
                    <a:pt x="2761" y="0"/>
                    <a:pt x="2761" y="0"/>
                    <a:pt x="2761" y="0"/>
                  </a:cubicBezTo>
                  <a:cubicBezTo>
                    <a:pt x="772" y="0"/>
                    <a:pt x="772" y="0"/>
                    <a:pt x="772" y="0"/>
                  </a:cubicBezTo>
                  <a:cubicBezTo>
                    <a:pt x="760" y="0"/>
                    <a:pt x="749" y="1"/>
                    <a:pt x="741" y="2"/>
                  </a:cubicBezTo>
                  <a:cubicBezTo>
                    <a:pt x="736" y="2"/>
                    <a:pt x="731" y="3"/>
                    <a:pt x="728" y="3"/>
                  </a:cubicBezTo>
                  <a:cubicBezTo>
                    <a:pt x="724" y="3"/>
                    <a:pt x="724" y="3"/>
                    <a:pt x="724" y="3"/>
                  </a:cubicBezTo>
                  <a:cubicBezTo>
                    <a:pt x="720" y="3"/>
                    <a:pt x="720" y="3"/>
                    <a:pt x="720" y="3"/>
                  </a:cubicBezTo>
                  <a:cubicBezTo>
                    <a:pt x="580" y="15"/>
                    <a:pt x="450" y="78"/>
                    <a:pt x="354" y="181"/>
                  </a:cubicBezTo>
                  <a:cubicBezTo>
                    <a:pt x="353" y="182"/>
                    <a:pt x="353" y="182"/>
                    <a:pt x="353" y="182"/>
                  </a:cubicBezTo>
                  <a:cubicBezTo>
                    <a:pt x="353" y="182"/>
                    <a:pt x="353" y="182"/>
                    <a:pt x="353" y="182"/>
                  </a:cubicBezTo>
                  <a:cubicBezTo>
                    <a:pt x="257" y="287"/>
                    <a:pt x="205" y="423"/>
                    <a:pt x="205" y="564"/>
                  </a:cubicBezTo>
                  <a:cubicBezTo>
                    <a:pt x="205" y="602"/>
                    <a:pt x="207" y="636"/>
                    <a:pt x="210" y="669"/>
                  </a:cubicBezTo>
                  <a:cubicBezTo>
                    <a:pt x="211" y="685"/>
                    <a:pt x="212" y="700"/>
                    <a:pt x="213" y="715"/>
                  </a:cubicBezTo>
                  <a:cubicBezTo>
                    <a:pt x="213" y="721"/>
                    <a:pt x="213" y="721"/>
                    <a:pt x="213" y="721"/>
                  </a:cubicBezTo>
                  <a:cubicBezTo>
                    <a:pt x="214" y="726"/>
                    <a:pt x="214" y="726"/>
                    <a:pt x="214" y="726"/>
                  </a:cubicBezTo>
                  <a:cubicBezTo>
                    <a:pt x="214" y="730"/>
                    <a:pt x="215" y="736"/>
                    <a:pt x="215" y="742"/>
                  </a:cubicBezTo>
                  <a:cubicBezTo>
                    <a:pt x="216" y="750"/>
                    <a:pt x="217" y="760"/>
                    <a:pt x="218" y="770"/>
                  </a:cubicBezTo>
                  <a:cubicBezTo>
                    <a:pt x="221" y="806"/>
                    <a:pt x="223" y="842"/>
                    <a:pt x="226" y="879"/>
                  </a:cubicBezTo>
                  <a:cubicBezTo>
                    <a:pt x="228" y="916"/>
                    <a:pt x="231" y="954"/>
                    <a:pt x="233" y="991"/>
                  </a:cubicBezTo>
                  <a:cubicBezTo>
                    <a:pt x="237" y="1056"/>
                    <a:pt x="237" y="1056"/>
                    <a:pt x="237" y="1056"/>
                  </a:cubicBezTo>
                  <a:cubicBezTo>
                    <a:pt x="233" y="1056"/>
                    <a:pt x="233" y="1056"/>
                    <a:pt x="233" y="1056"/>
                  </a:cubicBezTo>
                  <a:cubicBezTo>
                    <a:pt x="171" y="1056"/>
                    <a:pt x="112" y="1080"/>
                    <a:pt x="68" y="1124"/>
                  </a:cubicBezTo>
                  <a:cubicBezTo>
                    <a:pt x="24" y="1168"/>
                    <a:pt x="0" y="1227"/>
                    <a:pt x="0" y="1290"/>
                  </a:cubicBezTo>
                  <a:cubicBezTo>
                    <a:pt x="0" y="1920"/>
                    <a:pt x="0" y="1920"/>
                    <a:pt x="0" y="1920"/>
                  </a:cubicBezTo>
                  <a:cubicBezTo>
                    <a:pt x="0" y="2051"/>
                    <a:pt x="104" y="2156"/>
                    <a:pt x="233" y="2156"/>
                  </a:cubicBezTo>
                  <a:cubicBezTo>
                    <a:pt x="316" y="2156"/>
                    <a:pt x="316" y="2156"/>
                    <a:pt x="316" y="2156"/>
                  </a:cubicBezTo>
                  <a:cubicBezTo>
                    <a:pt x="322" y="2246"/>
                    <a:pt x="323" y="2266"/>
                    <a:pt x="323" y="2270"/>
                  </a:cubicBezTo>
                  <a:cubicBezTo>
                    <a:pt x="323" y="2273"/>
                    <a:pt x="323" y="2273"/>
                    <a:pt x="323" y="2273"/>
                  </a:cubicBezTo>
                  <a:cubicBezTo>
                    <a:pt x="323" y="2277"/>
                    <a:pt x="323" y="2277"/>
                    <a:pt x="323" y="2277"/>
                  </a:cubicBezTo>
                  <a:cubicBezTo>
                    <a:pt x="336" y="2421"/>
                    <a:pt x="336" y="2421"/>
                    <a:pt x="336" y="2421"/>
                  </a:cubicBezTo>
                  <a:cubicBezTo>
                    <a:pt x="336" y="2421"/>
                    <a:pt x="336" y="2421"/>
                    <a:pt x="336" y="2421"/>
                  </a:cubicBezTo>
                  <a:cubicBezTo>
                    <a:pt x="336" y="2422"/>
                    <a:pt x="336" y="2422"/>
                    <a:pt x="336" y="2422"/>
                  </a:cubicBezTo>
                  <a:cubicBezTo>
                    <a:pt x="339" y="2449"/>
                    <a:pt x="341" y="2477"/>
                    <a:pt x="347" y="2508"/>
                  </a:cubicBezTo>
                  <a:cubicBezTo>
                    <a:pt x="368" y="2635"/>
                    <a:pt x="421" y="2752"/>
                    <a:pt x="509" y="2866"/>
                  </a:cubicBezTo>
                  <a:cubicBezTo>
                    <a:pt x="510" y="2866"/>
                    <a:pt x="510" y="2866"/>
                    <a:pt x="510" y="2866"/>
                  </a:cubicBezTo>
                  <a:cubicBezTo>
                    <a:pt x="510" y="2867"/>
                    <a:pt x="510" y="2867"/>
                    <a:pt x="510" y="2867"/>
                  </a:cubicBezTo>
                  <a:cubicBezTo>
                    <a:pt x="595" y="2971"/>
                    <a:pt x="693" y="3049"/>
                    <a:pt x="805" y="3099"/>
                  </a:cubicBezTo>
                  <a:cubicBezTo>
                    <a:pt x="805" y="3099"/>
                    <a:pt x="805" y="3099"/>
                    <a:pt x="805" y="3099"/>
                  </a:cubicBezTo>
                  <a:cubicBezTo>
                    <a:pt x="805" y="3099"/>
                    <a:pt x="805" y="3099"/>
                    <a:pt x="805" y="3099"/>
                  </a:cubicBezTo>
                  <a:cubicBezTo>
                    <a:pt x="847" y="3118"/>
                    <a:pt x="889" y="3136"/>
                    <a:pt x="932" y="3155"/>
                  </a:cubicBezTo>
                  <a:cubicBezTo>
                    <a:pt x="1087" y="3223"/>
                    <a:pt x="1247" y="3294"/>
                    <a:pt x="1429" y="3372"/>
                  </a:cubicBezTo>
                  <a:cubicBezTo>
                    <a:pt x="1432" y="3373"/>
                    <a:pt x="1432" y="3373"/>
                    <a:pt x="1432" y="3373"/>
                  </a:cubicBezTo>
                  <a:cubicBezTo>
                    <a:pt x="1436" y="3374"/>
                    <a:pt x="1436" y="3374"/>
                    <a:pt x="1436" y="3374"/>
                  </a:cubicBezTo>
                  <a:cubicBezTo>
                    <a:pt x="1440" y="3375"/>
                    <a:pt x="1440" y="3375"/>
                    <a:pt x="1440" y="3375"/>
                  </a:cubicBezTo>
                  <a:cubicBezTo>
                    <a:pt x="1487" y="3397"/>
                    <a:pt x="1542" y="3421"/>
                    <a:pt x="1606" y="3438"/>
                  </a:cubicBezTo>
                  <a:cubicBezTo>
                    <a:pt x="1607" y="3438"/>
                    <a:pt x="1607" y="3438"/>
                    <a:pt x="1607" y="3438"/>
                  </a:cubicBezTo>
                  <a:cubicBezTo>
                    <a:pt x="1608" y="3438"/>
                    <a:pt x="1608" y="3438"/>
                    <a:pt x="1608" y="3438"/>
                  </a:cubicBezTo>
                  <a:cubicBezTo>
                    <a:pt x="1686" y="3457"/>
                    <a:pt x="1772" y="3466"/>
                    <a:pt x="1864" y="3466"/>
                  </a:cubicBezTo>
                  <a:cubicBezTo>
                    <a:pt x="1898" y="3466"/>
                    <a:pt x="1940" y="3466"/>
                    <a:pt x="1982" y="3461"/>
                  </a:cubicBezTo>
                  <a:cubicBezTo>
                    <a:pt x="2076" y="3452"/>
                    <a:pt x="2163" y="3431"/>
                    <a:pt x="2247" y="3395"/>
                  </a:cubicBezTo>
                  <a:cubicBezTo>
                    <a:pt x="2248" y="3394"/>
                    <a:pt x="2248" y="3394"/>
                    <a:pt x="2248" y="3394"/>
                  </a:cubicBezTo>
                  <a:cubicBezTo>
                    <a:pt x="2248" y="3394"/>
                    <a:pt x="2248" y="3394"/>
                    <a:pt x="2248" y="3394"/>
                  </a:cubicBezTo>
                  <a:cubicBezTo>
                    <a:pt x="2303" y="3370"/>
                    <a:pt x="2362" y="3344"/>
                    <a:pt x="2423" y="3317"/>
                  </a:cubicBezTo>
                  <a:cubicBezTo>
                    <a:pt x="2552" y="3260"/>
                    <a:pt x="2685" y="3202"/>
                    <a:pt x="2819" y="3143"/>
                  </a:cubicBezTo>
                  <a:cubicBezTo>
                    <a:pt x="2822" y="3142"/>
                    <a:pt x="2822" y="3142"/>
                    <a:pt x="2822" y="3142"/>
                  </a:cubicBezTo>
                  <a:cubicBezTo>
                    <a:pt x="2824" y="3141"/>
                    <a:pt x="2824" y="3141"/>
                    <a:pt x="2824" y="3141"/>
                  </a:cubicBezTo>
                  <a:cubicBezTo>
                    <a:pt x="2825" y="3141"/>
                    <a:pt x="2829" y="3139"/>
                    <a:pt x="2832" y="3138"/>
                  </a:cubicBezTo>
                  <a:cubicBezTo>
                    <a:pt x="2837" y="3136"/>
                    <a:pt x="2843" y="3134"/>
                    <a:pt x="2850" y="3131"/>
                  </a:cubicBezTo>
                  <a:cubicBezTo>
                    <a:pt x="2852" y="3130"/>
                    <a:pt x="2852" y="3130"/>
                    <a:pt x="2852" y="3130"/>
                  </a:cubicBezTo>
                  <a:cubicBezTo>
                    <a:pt x="2855" y="3129"/>
                    <a:pt x="2855" y="3129"/>
                    <a:pt x="2855" y="3129"/>
                  </a:cubicBezTo>
                  <a:cubicBezTo>
                    <a:pt x="2865" y="3125"/>
                    <a:pt x="2875" y="3120"/>
                    <a:pt x="2886" y="3115"/>
                  </a:cubicBezTo>
                  <a:cubicBezTo>
                    <a:pt x="2915" y="3102"/>
                    <a:pt x="2945" y="3089"/>
                    <a:pt x="2978" y="3070"/>
                  </a:cubicBezTo>
                  <a:cubicBezTo>
                    <a:pt x="3080" y="3018"/>
                    <a:pt x="3178" y="2927"/>
                    <a:pt x="3255" y="2815"/>
                  </a:cubicBezTo>
                  <a:cubicBezTo>
                    <a:pt x="3255" y="2814"/>
                    <a:pt x="3255" y="2814"/>
                    <a:pt x="3255" y="2814"/>
                  </a:cubicBezTo>
                  <a:cubicBezTo>
                    <a:pt x="3256" y="2813"/>
                    <a:pt x="3256" y="2813"/>
                    <a:pt x="3256" y="2813"/>
                  </a:cubicBezTo>
                  <a:cubicBezTo>
                    <a:pt x="3341" y="2683"/>
                    <a:pt x="3388" y="2539"/>
                    <a:pt x="3392" y="2398"/>
                  </a:cubicBezTo>
                  <a:cubicBezTo>
                    <a:pt x="3394" y="2354"/>
                    <a:pt x="3398" y="2310"/>
                    <a:pt x="3402" y="2262"/>
                  </a:cubicBezTo>
                  <a:cubicBezTo>
                    <a:pt x="3403" y="2254"/>
                    <a:pt x="3403" y="2245"/>
                    <a:pt x="3404" y="2236"/>
                  </a:cubicBezTo>
                  <a:cubicBezTo>
                    <a:pt x="3405" y="2232"/>
                    <a:pt x="3405" y="2232"/>
                    <a:pt x="3405" y="2232"/>
                  </a:cubicBezTo>
                  <a:cubicBezTo>
                    <a:pt x="3405" y="2228"/>
                    <a:pt x="3405" y="2228"/>
                    <a:pt x="3405" y="2228"/>
                  </a:cubicBezTo>
                  <a:cubicBezTo>
                    <a:pt x="3405" y="2207"/>
                    <a:pt x="3407" y="2182"/>
                    <a:pt x="3409" y="2160"/>
                  </a:cubicBezTo>
                  <a:cubicBezTo>
                    <a:pt x="3409" y="2159"/>
                    <a:pt x="3409" y="2158"/>
                    <a:pt x="3409" y="2156"/>
                  </a:cubicBezTo>
                  <a:cubicBezTo>
                    <a:pt x="3489" y="2156"/>
                    <a:pt x="3489" y="2156"/>
                    <a:pt x="3489" y="2156"/>
                  </a:cubicBezTo>
                  <a:cubicBezTo>
                    <a:pt x="3618" y="2156"/>
                    <a:pt x="3722" y="2051"/>
                    <a:pt x="3722" y="1920"/>
                  </a:cubicBezTo>
                  <a:cubicBezTo>
                    <a:pt x="3722" y="1290"/>
                    <a:pt x="3722" y="1290"/>
                    <a:pt x="3722" y="1290"/>
                  </a:cubicBezTo>
                  <a:cubicBezTo>
                    <a:pt x="3722" y="1227"/>
                    <a:pt x="3698" y="1168"/>
                    <a:pt x="3654" y="1124"/>
                  </a:cubicBezTo>
                  <a:cubicBezTo>
                    <a:pt x="3610" y="1080"/>
                    <a:pt x="3551" y="1056"/>
                    <a:pt x="3489" y="1056"/>
                  </a:cubicBezTo>
                  <a:cubicBezTo>
                    <a:pt x="3489" y="1056"/>
                    <a:pt x="3489" y="1056"/>
                    <a:pt x="3489" y="1056"/>
                  </a:cubicBezTo>
                  <a:cubicBezTo>
                    <a:pt x="3495" y="964"/>
                    <a:pt x="3499" y="916"/>
                    <a:pt x="3499" y="893"/>
                  </a:cubicBezTo>
                  <a:cubicBezTo>
                    <a:pt x="3502" y="871"/>
                    <a:pt x="3504" y="848"/>
                    <a:pt x="3504" y="823"/>
                  </a:cubicBezTo>
                  <a:cubicBezTo>
                    <a:pt x="3507" y="797"/>
                    <a:pt x="3509" y="770"/>
                    <a:pt x="3511" y="745"/>
                  </a:cubicBezTo>
                  <a:cubicBezTo>
                    <a:pt x="3513" y="721"/>
                    <a:pt x="3515" y="696"/>
                    <a:pt x="3517" y="671"/>
                  </a:cubicBezTo>
                  <a:cubicBezTo>
                    <a:pt x="3517" y="666"/>
                    <a:pt x="3517" y="666"/>
                    <a:pt x="3517" y="666"/>
                  </a:cubicBezTo>
                  <a:cubicBezTo>
                    <a:pt x="3517" y="662"/>
                    <a:pt x="3517" y="662"/>
                    <a:pt x="3517" y="662"/>
                  </a:cubicBezTo>
                  <a:cubicBezTo>
                    <a:pt x="3517" y="647"/>
                    <a:pt x="3517" y="647"/>
                    <a:pt x="3517" y="647"/>
                  </a:cubicBezTo>
                  <a:cubicBezTo>
                    <a:pt x="3520" y="610"/>
                    <a:pt x="3523" y="565"/>
                    <a:pt x="3520" y="513"/>
                  </a:cubicBezTo>
                  <a:cubicBezTo>
                    <a:pt x="3520" y="511"/>
                    <a:pt x="3520" y="511"/>
                    <a:pt x="3520" y="511"/>
                  </a:cubicBezTo>
                  <a:cubicBezTo>
                    <a:pt x="3520" y="510"/>
                    <a:pt x="3520" y="510"/>
                    <a:pt x="3520" y="510"/>
                  </a:cubicBezTo>
                  <a:cubicBezTo>
                    <a:pt x="3507" y="370"/>
                    <a:pt x="3443" y="241"/>
                    <a:pt x="3338" y="145"/>
                  </a:cubicBezTo>
                  <a:cubicBezTo>
                    <a:pt x="3337" y="145"/>
                    <a:pt x="3337" y="145"/>
                    <a:pt x="3337" y="145"/>
                  </a:cubicBezTo>
                  <a:cubicBezTo>
                    <a:pt x="3336" y="144"/>
                    <a:pt x="3336" y="144"/>
                    <a:pt x="3336" y="144"/>
                  </a:cubicBezTo>
                  <a:cubicBezTo>
                    <a:pt x="3231" y="51"/>
                    <a:pt x="3098" y="0"/>
                    <a:pt x="2961" y="0"/>
                  </a:cubicBezTo>
                  <a:close/>
                </a:path>
              </a:pathLst>
            </a:custGeom>
            <a:solidFill>
              <a:srgbClr val="E8E8E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8" name="Freeform 7"/>
            <p:cNvSpPr>
              <a:spLocks/>
            </p:cNvSpPr>
            <p:nvPr/>
          </p:nvSpPr>
          <p:spPr bwMode="auto">
            <a:xfrm>
              <a:off x="191" y="3688"/>
              <a:ext cx="465" cy="150"/>
            </a:xfrm>
            <a:custGeom>
              <a:avLst/>
              <a:gdLst>
                <a:gd name="T0" fmla="*/ 126 w 2823"/>
                <a:gd name="T1" fmla="*/ 654 h 900"/>
                <a:gd name="T2" fmla="*/ 141 w 2823"/>
                <a:gd name="T3" fmla="*/ 900 h 900"/>
                <a:gd name="T4" fmla="*/ 44 w 2823"/>
                <a:gd name="T5" fmla="*/ 900 h 900"/>
                <a:gd name="T6" fmla="*/ 36 w 2823"/>
                <a:gd name="T7" fmla="*/ 810 h 900"/>
                <a:gd name="T8" fmla="*/ 16 w 2823"/>
                <a:gd name="T9" fmla="*/ 500 h 900"/>
                <a:gd name="T10" fmla="*/ 3 w 2823"/>
                <a:gd name="T11" fmla="*/ 315 h 900"/>
                <a:gd name="T12" fmla="*/ 290 w 2823"/>
                <a:gd name="T13" fmla="*/ 3 h 900"/>
                <a:gd name="T14" fmla="*/ 321 w 2823"/>
                <a:gd name="T15" fmla="*/ 0 h 900"/>
                <a:gd name="T16" fmla="*/ 2510 w 2823"/>
                <a:gd name="T17" fmla="*/ 0 h 900"/>
                <a:gd name="T18" fmla="*/ 2820 w 2823"/>
                <a:gd name="T19" fmla="*/ 282 h 900"/>
                <a:gd name="T20" fmla="*/ 2817 w 2823"/>
                <a:gd name="T21" fmla="*/ 402 h 900"/>
                <a:gd name="T22" fmla="*/ 2802 w 2823"/>
                <a:gd name="T23" fmla="*/ 625 h 900"/>
                <a:gd name="T24" fmla="*/ 2782 w 2823"/>
                <a:gd name="T25" fmla="*/ 900 h 900"/>
                <a:gd name="T26" fmla="*/ 2682 w 2823"/>
                <a:gd name="T27" fmla="*/ 900 h 900"/>
                <a:gd name="T28" fmla="*/ 2699 w 2823"/>
                <a:gd name="T29" fmla="*/ 654 h 900"/>
                <a:gd name="T30" fmla="*/ 126 w 2823"/>
                <a:gd name="T31" fmla="*/ 654 h 9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23" h="900">
                  <a:moveTo>
                    <a:pt x="126" y="654"/>
                  </a:moveTo>
                  <a:cubicBezTo>
                    <a:pt x="131" y="736"/>
                    <a:pt x="136" y="818"/>
                    <a:pt x="141" y="900"/>
                  </a:cubicBezTo>
                  <a:cubicBezTo>
                    <a:pt x="108" y="900"/>
                    <a:pt x="77" y="900"/>
                    <a:pt x="44" y="900"/>
                  </a:cubicBezTo>
                  <a:cubicBezTo>
                    <a:pt x="41" y="872"/>
                    <a:pt x="39" y="841"/>
                    <a:pt x="36" y="810"/>
                  </a:cubicBezTo>
                  <a:cubicBezTo>
                    <a:pt x="28" y="707"/>
                    <a:pt x="21" y="602"/>
                    <a:pt x="16" y="500"/>
                  </a:cubicBezTo>
                  <a:cubicBezTo>
                    <a:pt x="10" y="438"/>
                    <a:pt x="3" y="377"/>
                    <a:pt x="3" y="315"/>
                  </a:cubicBezTo>
                  <a:cubicBezTo>
                    <a:pt x="0" y="151"/>
                    <a:pt x="126" y="15"/>
                    <a:pt x="290" y="3"/>
                  </a:cubicBezTo>
                  <a:cubicBezTo>
                    <a:pt x="300" y="0"/>
                    <a:pt x="310" y="0"/>
                    <a:pt x="321" y="0"/>
                  </a:cubicBezTo>
                  <a:cubicBezTo>
                    <a:pt x="1051" y="0"/>
                    <a:pt x="1779" y="0"/>
                    <a:pt x="2510" y="0"/>
                  </a:cubicBezTo>
                  <a:cubicBezTo>
                    <a:pt x="2669" y="0"/>
                    <a:pt x="2807" y="123"/>
                    <a:pt x="2820" y="282"/>
                  </a:cubicBezTo>
                  <a:cubicBezTo>
                    <a:pt x="2823" y="323"/>
                    <a:pt x="2820" y="364"/>
                    <a:pt x="2817" y="402"/>
                  </a:cubicBezTo>
                  <a:cubicBezTo>
                    <a:pt x="2812" y="477"/>
                    <a:pt x="2807" y="551"/>
                    <a:pt x="2802" y="625"/>
                  </a:cubicBezTo>
                  <a:cubicBezTo>
                    <a:pt x="2794" y="718"/>
                    <a:pt x="2787" y="807"/>
                    <a:pt x="2782" y="900"/>
                  </a:cubicBezTo>
                  <a:cubicBezTo>
                    <a:pt x="2748" y="900"/>
                    <a:pt x="2715" y="900"/>
                    <a:pt x="2682" y="900"/>
                  </a:cubicBezTo>
                  <a:cubicBezTo>
                    <a:pt x="2689" y="818"/>
                    <a:pt x="2694" y="736"/>
                    <a:pt x="2699" y="654"/>
                  </a:cubicBezTo>
                  <a:cubicBezTo>
                    <a:pt x="1841" y="654"/>
                    <a:pt x="985" y="654"/>
                    <a:pt x="126" y="654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9" name="Freeform 8"/>
            <p:cNvSpPr>
              <a:spLocks/>
            </p:cNvSpPr>
            <p:nvPr/>
          </p:nvSpPr>
          <p:spPr bwMode="auto">
            <a:xfrm>
              <a:off x="209" y="3990"/>
              <a:ext cx="430" cy="194"/>
            </a:xfrm>
            <a:custGeom>
              <a:avLst/>
              <a:gdLst>
                <a:gd name="T0" fmla="*/ 0 w 2605"/>
                <a:gd name="T1" fmla="*/ 0 h 1162"/>
                <a:gd name="T2" fmla="*/ 98 w 2605"/>
                <a:gd name="T3" fmla="*/ 0 h 1162"/>
                <a:gd name="T4" fmla="*/ 100 w 2605"/>
                <a:gd name="T5" fmla="*/ 46 h 1162"/>
                <a:gd name="T6" fmla="*/ 123 w 2605"/>
                <a:gd name="T7" fmla="*/ 357 h 1162"/>
                <a:gd name="T8" fmla="*/ 190 w 2605"/>
                <a:gd name="T9" fmla="*/ 544 h 1162"/>
                <a:gd name="T10" fmla="*/ 364 w 2605"/>
                <a:gd name="T11" fmla="*/ 710 h 1162"/>
                <a:gd name="T12" fmla="*/ 521 w 2605"/>
                <a:gd name="T13" fmla="*/ 780 h 1162"/>
                <a:gd name="T14" fmla="*/ 1054 w 2605"/>
                <a:gd name="T15" fmla="*/ 1013 h 1162"/>
                <a:gd name="T16" fmla="*/ 1223 w 2605"/>
                <a:gd name="T17" fmla="*/ 1054 h 1162"/>
                <a:gd name="T18" fmla="*/ 1485 w 2605"/>
                <a:gd name="T19" fmla="*/ 1036 h 1162"/>
                <a:gd name="T20" fmla="*/ 1610 w 2605"/>
                <a:gd name="T21" fmla="*/ 987 h 1162"/>
                <a:gd name="T22" fmla="*/ 2220 w 2605"/>
                <a:gd name="T23" fmla="*/ 721 h 1162"/>
                <a:gd name="T24" fmla="*/ 2387 w 2605"/>
                <a:gd name="T25" fmla="*/ 585 h 1162"/>
                <a:gd name="T26" fmla="*/ 2477 w 2605"/>
                <a:gd name="T27" fmla="*/ 393 h 1162"/>
                <a:gd name="T28" fmla="*/ 2487 w 2605"/>
                <a:gd name="T29" fmla="*/ 287 h 1162"/>
                <a:gd name="T30" fmla="*/ 2505 w 2605"/>
                <a:gd name="T31" fmla="*/ 8 h 1162"/>
                <a:gd name="T32" fmla="*/ 2507 w 2605"/>
                <a:gd name="T33" fmla="*/ 0 h 1162"/>
                <a:gd name="T34" fmla="*/ 2605 w 2605"/>
                <a:gd name="T35" fmla="*/ 0 h 1162"/>
                <a:gd name="T36" fmla="*/ 2600 w 2605"/>
                <a:gd name="T37" fmla="*/ 75 h 1162"/>
                <a:gd name="T38" fmla="*/ 2582 w 2605"/>
                <a:gd name="T39" fmla="*/ 328 h 1162"/>
                <a:gd name="T40" fmla="*/ 2300 w 2605"/>
                <a:gd name="T41" fmla="*/ 790 h 1162"/>
                <a:gd name="T42" fmla="*/ 2159 w 2605"/>
                <a:gd name="T43" fmla="*/ 854 h 1162"/>
                <a:gd name="T44" fmla="*/ 1587 w 2605"/>
                <a:gd name="T45" fmla="*/ 1105 h 1162"/>
                <a:gd name="T46" fmla="*/ 1395 w 2605"/>
                <a:gd name="T47" fmla="*/ 1151 h 1162"/>
                <a:gd name="T48" fmla="*/ 1105 w 2605"/>
                <a:gd name="T49" fmla="*/ 1133 h 1162"/>
                <a:gd name="T50" fmla="*/ 967 w 2605"/>
                <a:gd name="T51" fmla="*/ 1082 h 1162"/>
                <a:gd name="T52" fmla="*/ 344 w 2605"/>
                <a:gd name="T53" fmla="*/ 810 h 1162"/>
                <a:gd name="T54" fmla="*/ 144 w 2605"/>
                <a:gd name="T55" fmla="*/ 651 h 1162"/>
                <a:gd name="T56" fmla="*/ 31 w 2605"/>
                <a:gd name="T57" fmla="*/ 405 h 1162"/>
                <a:gd name="T58" fmla="*/ 18 w 2605"/>
                <a:gd name="T59" fmla="*/ 280 h 1162"/>
                <a:gd name="T60" fmla="*/ 0 w 2605"/>
                <a:gd name="T61" fmla="*/ 18 h 1162"/>
                <a:gd name="T62" fmla="*/ 0 w 2605"/>
                <a:gd name="T63" fmla="*/ 0 h 11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2605" h="1162">
                  <a:moveTo>
                    <a:pt x="0" y="0"/>
                  </a:moveTo>
                  <a:cubicBezTo>
                    <a:pt x="34" y="0"/>
                    <a:pt x="64" y="0"/>
                    <a:pt x="98" y="0"/>
                  </a:cubicBezTo>
                  <a:cubicBezTo>
                    <a:pt x="98" y="16"/>
                    <a:pt x="100" y="31"/>
                    <a:pt x="100" y="46"/>
                  </a:cubicBezTo>
                  <a:cubicBezTo>
                    <a:pt x="108" y="149"/>
                    <a:pt x="116" y="254"/>
                    <a:pt x="123" y="357"/>
                  </a:cubicBezTo>
                  <a:cubicBezTo>
                    <a:pt x="129" y="426"/>
                    <a:pt x="154" y="487"/>
                    <a:pt x="190" y="544"/>
                  </a:cubicBezTo>
                  <a:cubicBezTo>
                    <a:pt x="234" y="613"/>
                    <a:pt x="290" y="672"/>
                    <a:pt x="364" y="710"/>
                  </a:cubicBezTo>
                  <a:cubicBezTo>
                    <a:pt x="416" y="736"/>
                    <a:pt x="470" y="757"/>
                    <a:pt x="521" y="780"/>
                  </a:cubicBezTo>
                  <a:cubicBezTo>
                    <a:pt x="700" y="857"/>
                    <a:pt x="877" y="936"/>
                    <a:pt x="1054" y="1013"/>
                  </a:cubicBezTo>
                  <a:cubicBezTo>
                    <a:pt x="1108" y="1036"/>
                    <a:pt x="1164" y="1049"/>
                    <a:pt x="1223" y="1054"/>
                  </a:cubicBezTo>
                  <a:cubicBezTo>
                    <a:pt x="1310" y="1062"/>
                    <a:pt x="1400" y="1059"/>
                    <a:pt x="1485" y="1036"/>
                  </a:cubicBezTo>
                  <a:cubicBezTo>
                    <a:pt x="1528" y="1023"/>
                    <a:pt x="1569" y="1005"/>
                    <a:pt x="1610" y="987"/>
                  </a:cubicBezTo>
                  <a:cubicBezTo>
                    <a:pt x="1813" y="898"/>
                    <a:pt x="2018" y="808"/>
                    <a:pt x="2220" y="721"/>
                  </a:cubicBezTo>
                  <a:cubicBezTo>
                    <a:pt x="2287" y="690"/>
                    <a:pt x="2341" y="641"/>
                    <a:pt x="2387" y="585"/>
                  </a:cubicBezTo>
                  <a:cubicBezTo>
                    <a:pt x="2431" y="526"/>
                    <a:pt x="2464" y="464"/>
                    <a:pt x="2477" y="393"/>
                  </a:cubicBezTo>
                  <a:cubicBezTo>
                    <a:pt x="2482" y="357"/>
                    <a:pt x="2484" y="321"/>
                    <a:pt x="2487" y="287"/>
                  </a:cubicBezTo>
                  <a:cubicBezTo>
                    <a:pt x="2492" y="193"/>
                    <a:pt x="2500" y="100"/>
                    <a:pt x="2505" y="8"/>
                  </a:cubicBezTo>
                  <a:cubicBezTo>
                    <a:pt x="2505" y="5"/>
                    <a:pt x="2507" y="3"/>
                    <a:pt x="2507" y="0"/>
                  </a:cubicBezTo>
                  <a:cubicBezTo>
                    <a:pt x="2541" y="0"/>
                    <a:pt x="2572" y="0"/>
                    <a:pt x="2605" y="0"/>
                  </a:cubicBezTo>
                  <a:cubicBezTo>
                    <a:pt x="2605" y="26"/>
                    <a:pt x="2602" y="52"/>
                    <a:pt x="2600" y="75"/>
                  </a:cubicBezTo>
                  <a:cubicBezTo>
                    <a:pt x="2595" y="159"/>
                    <a:pt x="2584" y="244"/>
                    <a:pt x="2582" y="328"/>
                  </a:cubicBezTo>
                  <a:cubicBezTo>
                    <a:pt x="2577" y="541"/>
                    <a:pt x="2428" y="723"/>
                    <a:pt x="2300" y="790"/>
                  </a:cubicBezTo>
                  <a:cubicBezTo>
                    <a:pt x="2254" y="816"/>
                    <a:pt x="2205" y="833"/>
                    <a:pt x="2159" y="854"/>
                  </a:cubicBezTo>
                  <a:cubicBezTo>
                    <a:pt x="1967" y="939"/>
                    <a:pt x="1777" y="1021"/>
                    <a:pt x="1587" y="1105"/>
                  </a:cubicBezTo>
                  <a:cubicBezTo>
                    <a:pt x="1526" y="1131"/>
                    <a:pt x="1459" y="1146"/>
                    <a:pt x="1395" y="1151"/>
                  </a:cubicBezTo>
                  <a:cubicBezTo>
                    <a:pt x="1297" y="1162"/>
                    <a:pt x="1200" y="1156"/>
                    <a:pt x="1105" y="1133"/>
                  </a:cubicBezTo>
                  <a:cubicBezTo>
                    <a:pt x="1057" y="1123"/>
                    <a:pt x="1013" y="1103"/>
                    <a:pt x="967" y="1082"/>
                  </a:cubicBezTo>
                  <a:cubicBezTo>
                    <a:pt x="759" y="992"/>
                    <a:pt x="552" y="900"/>
                    <a:pt x="344" y="810"/>
                  </a:cubicBezTo>
                  <a:cubicBezTo>
                    <a:pt x="264" y="774"/>
                    <a:pt x="198" y="721"/>
                    <a:pt x="144" y="651"/>
                  </a:cubicBezTo>
                  <a:cubicBezTo>
                    <a:pt x="88" y="577"/>
                    <a:pt x="47" y="498"/>
                    <a:pt x="31" y="405"/>
                  </a:cubicBezTo>
                  <a:cubicBezTo>
                    <a:pt x="23" y="364"/>
                    <a:pt x="23" y="321"/>
                    <a:pt x="18" y="280"/>
                  </a:cubicBezTo>
                  <a:cubicBezTo>
                    <a:pt x="13" y="193"/>
                    <a:pt x="6" y="105"/>
                    <a:pt x="0" y="18"/>
                  </a:cubicBezTo>
                  <a:cubicBezTo>
                    <a:pt x="0" y="13"/>
                    <a:pt x="0" y="8"/>
                    <a:pt x="0" y="0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0" name="Freeform 9"/>
            <p:cNvSpPr>
              <a:spLocks/>
            </p:cNvSpPr>
            <p:nvPr/>
          </p:nvSpPr>
          <p:spPr bwMode="auto">
            <a:xfrm>
              <a:off x="233" y="3875"/>
              <a:ext cx="90" cy="82"/>
            </a:xfrm>
            <a:custGeom>
              <a:avLst/>
              <a:gdLst>
                <a:gd name="T0" fmla="*/ 369 w 543"/>
                <a:gd name="T1" fmla="*/ 0 h 492"/>
                <a:gd name="T2" fmla="*/ 518 w 543"/>
                <a:gd name="T3" fmla="*/ 0 h 492"/>
                <a:gd name="T4" fmla="*/ 543 w 543"/>
                <a:gd name="T5" fmla="*/ 492 h 492"/>
                <a:gd name="T6" fmla="*/ 433 w 543"/>
                <a:gd name="T7" fmla="*/ 492 h 492"/>
                <a:gd name="T8" fmla="*/ 420 w 543"/>
                <a:gd name="T9" fmla="*/ 110 h 492"/>
                <a:gd name="T10" fmla="*/ 418 w 543"/>
                <a:gd name="T11" fmla="*/ 118 h 492"/>
                <a:gd name="T12" fmla="*/ 308 w 543"/>
                <a:gd name="T13" fmla="*/ 477 h 492"/>
                <a:gd name="T14" fmla="*/ 300 w 543"/>
                <a:gd name="T15" fmla="*/ 484 h 492"/>
                <a:gd name="T16" fmla="*/ 218 w 543"/>
                <a:gd name="T17" fmla="*/ 484 h 492"/>
                <a:gd name="T18" fmla="*/ 120 w 543"/>
                <a:gd name="T19" fmla="*/ 107 h 492"/>
                <a:gd name="T20" fmla="*/ 105 w 543"/>
                <a:gd name="T21" fmla="*/ 492 h 492"/>
                <a:gd name="T22" fmla="*/ 0 w 543"/>
                <a:gd name="T23" fmla="*/ 492 h 492"/>
                <a:gd name="T24" fmla="*/ 31 w 543"/>
                <a:gd name="T25" fmla="*/ 0 h 492"/>
                <a:gd name="T26" fmla="*/ 179 w 543"/>
                <a:gd name="T27" fmla="*/ 0 h 492"/>
                <a:gd name="T28" fmla="*/ 228 w 543"/>
                <a:gd name="T29" fmla="*/ 169 h 492"/>
                <a:gd name="T30" fmla="*/ 269 w 543"/>
                <a:gd name="T31" fmla="*/ 336 h 492"/>
                <a:gd name="T32" fmla="*/ 369 w 543"/>
                <a:gd name="T33" fmla="*/ 0 h 4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543" h="492">
                  <a:moveTo>
                    <a:pt x="369" y="0"/>
                  </a:moveTo>
                  <a:cubicBezTo>
                    <a:pt x="420" y="0"/>
                    <a:pt x="466" y="0"/>
                    <a:pt x="518" y="0"/>
                  </a:cubicBezTo>
                  <a:cubicBezTo>
                    <a:pt x="525" y="164"/>
                    <a:pt x="536" y="328"/>
                    <a:pt x="543" y="492"/>
                  </a:cubicBezTo>
                  <a:cubicBezTo>
                    <a:pt x="508" y="492"/>
                    <a:pt x="472" y="492"/>
                    <a:pt x="433" y="492"/>
                  </a:cubicBezTo>
                  <a:cubicBezTo>
                    <a:pt x="431" y="364"/>
                    <a:pt x="425" y="238"/>
                    <a:pt x="420" y="110"/>
                  </a:cubicBezTo>
                  <a:cubicBezTo>
                    <a:pt x="420" y="113"/>
                    <a:pt x="418" y="115"/>
                    <a:pt x="418" y="118"/>
                  </a:cubicBezTo>
                  <a:cubicBezTo>
                    <a:pt x="382" y="238"/>
                    <a:pt x="346" y="359"/>
                    <a:pt x="308" y="477"/>
                  </a:cubicBezTo>
                  <a:cubicBezTo>
                    <a:pt x="308" y="482"/>
                    <a:pt x="305" y="487"/>
                    <a:pt x="300" y="484"/>
                  </a:cubicBezTo>
                  <a:cubicBezTo>
                    <a:pt x="274" y="484"/>
                    <a:pt x="246" y="484"/>
                    <a:pt x="218" y="484"/>
                  </a:cubicBezTo>
                  <a:cubicBezTo>
                    <a:pt x="185" y="359"/>
                    <a:pt x="146" y="236"/>
                    <a:pt x="120" y="107"/>
                  </a:cubicBezTo>
                  <a:cubicBezTo>
                    <a:pt x="115" y="236"/>
                    <a:pt x="110" y="364"/>
                    <a:pt x="105" y="492"/>
                  </a:cubicBezTo>
                  <a:cubicBezTo>
                    <a:pt x="69" y="492"/>
                    <a:pt x="36" y="492"/>
                    <a:pt x="0" y="492"/>
                  </a:cubicBezTo>
                  <a:cubicBezTo>
                    <a:pt x="10" y="328"/>
                    <a:pt x="20" y="164"/>
                    <a:pt x="31" y="0"/>
                  </a:cubicBezTo>
                  <a:cubicBezTo>
                    <a:pt x="82" y="0"/>
                    <a:pt x="131" y="0"/>
                    <a:pt x="179" y="0"/>
                  </a:cubicBezTo>
                  <a:cubicBezTo>
                    <a:pt x="197" y="56"/>
                    <a:pt x="213" y="113"/>
                    <a:pt x="228" y="169"/>
                  </a:cubicBezTo>
                  <a:cubicBezTo>
                    <a:pt x="243" y="225"/>
                    <a:pt x="256" y="282"/>
                    <a:pt x="269" y="336"/>
                  </a:cubicBezTo>
                  <a:cubicBezTo>
                    <a:pt x="302" y="225"/>
                    <a:pt x="336" y="113"/>
                    <a:pt x="369" y="0"/>
                  </a:cubicBezTo>
                  <a:close/>
                </a:path>
              </a:pathLst>
            </a:custGeom>
            <a:solidFill>
              <a:srgbClr val="EC1D2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1" name="Freeform 10"/>
            <p:cNvSpPr>
              <a:spLocks/>
            </p:cNvSpPr>
            <p:nvPr/>
          </p:nvSpPr>
          <p:spPr bwMode="auto">
            <a:xfrm>
              <a:off x="623" y="3875"/>
              <a:ext cx="67" cy="82"/>
            </a:xfrm>
            <a:custGeom>
              <a:avLst/>
              <a:gdLst>
                <a:gd name="T0" fmla="*/ 0 w 407"/>
                <a:gd name="T1" fmla="*/ 0 h 495"/>
                <a:gd name="T2" fmla="*/ 107 w 407"/>
                <a:gd name="T3" fmla="*/ 0 h 495"/>
                <a:gd name="T4" fmla="*/ 141 w 407"/>
                <a:gd name="T5" fmla="*/ 20 h 495"/>
                <a:gd name="T6" fmla="*/ 266 w 407"/>
                <a:gd name="T7" fmla="*/ 246 h 495"/>
                <a:gd name="T8" fmla="*/ 307 w 407"/>
                <a:gd name="T9" fmla="*/ 333 h 495"/>
                <a:gd name="T10" fmla="*/ 312 w 407"/>
                <a:gd name="T11" fmla="*/ 343 h 495"/>
                <a:gd name="T12" fmla="*/ 305 w 407"/>
                <a:gd name="T13" fmla="*/ 0 h 495"/>
                <a:gd name="T14" fmla="*/ 407 w 407"/>
                <a:gd name="T15" fmla="*/ 0 h 495"/>
                <a:gd name="T16" fmla="*/ 407 w 407"/>
                <a:gd name="T17" fmla="*/ 492 h 495"/>
                <a:gd name="T18" fmla="*/ 402 w 407"/>
                <a:gd name="T19" fmla="*/ 495 h 495"/>
                <a:gd name="T20" fmla="*/ 300 w 407"/>
                <a:gd name="T21" fmla="*/ 492 h 495"/>
                <a:gd name="T22" fmla="*/ 287 w 407"/>
                <a:gd name="T23" fmla="*/ 487 h 495"/>
                <a:gd name="T24" fmla="*/ 135 w 407"/>
                <a:gd name="T25" fmla="*/ 207 h 495"/>
                <a:gd name="T26" fmla="*/ 100 w 407"/>
                <a:gd name="T27" fmla="*/ 130 h 495"/>
                <a:gd name="T28" fmla="*/ 105 w 407"/>
                <a:gd name="T29" fmla="*/ 492 h 495"/>
                <a:gd name="T30" fmla="*/ 0 w 407"/>
                <a:gd name="T31" fmla="*/ 492 h 495"/>
                <a:gd name="T32" fmla="*/ 0 w 407"/>
                <a:gd name="T33" fmla="*/ 0 h 4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407" h="495">
                  <a:moveTo>
                    <a:pt x="0" y="0"/>
                  </a:moveTo>
                  <a:cubicBezTo>
                    <a:pt x="35" y="0"/>
                    <a:pt x="71" y="2"/>
                    <a:pt x="107" y="0"/>
                  </a:cubicBezTo>
                  <a:cubicBezTo>
                    <a:pt x="125" y="0"/>
                    <a:pt x="133" y="5"/>
                    <a:pt x="141" y="20"/>
                  </a:cubicBezTo>
                  <a:cubicBezTo>
                    <a:pt x="182" y="95"/>
                    <a:pt x="225" y="169"/>
                    <a:pt x="266" y="246"/>
                  </a:cubicBezTo>
                  <a:cubicBezTo>
                    <a:pt x="282" y="274"/>
                    <a:pt x="292" y="305"/>
                    <a:pt x="307" y="333"/>
                  </a:cubicBezTo>
                  <a:cubicBezTo>
                    <a:pt x="307" y="338"/>
                    <a:pt x="310" y="341"/>
                    <a:pt x="312" y="343"/>
                  </a:cubicBezTo>
                  <a:cubicBezTo>
                    <a:pt x="302" y="230"/>
                    <a:pt x="305" y="115"/>
                    <a:pt x="305" y="0"/>
                  </a:cubicBezTo>
                  <a:cubicBezTo>
                    <a:pt x="341" y="0"/>
                    <a:pt x="374" y="0"/>
                    <a:pt x="407" y="0"/>
                  </a:cubicBezTo>
                  <a:cubicBezTo>
                    <a:pt x="407" y="164"/>
                    <a:pt x="407" y="328"/>
                    <a:pt x="407" y="492"/>
                  </a:cubicBezTo>
                  <a:cubicBezTo>
                    <a:pt x="405" y="492"/>
                    <a:pt x="402" y="495"/>
                    <a:pt x="402" y="495"/>
                  </a:cubicBezTo>
                  <a:cubicBezTo>
                    <a:pt x="366" y="495"/>
                    <a:pt x="333" y="495"/>
                    <a:pt x="300" y="492"/>
                  </a:cubicBezTo>
                  <a:cubicBezTo>
                    <a:pt x="294" y="492"/>
                    <a:pt x="289" y="489"/>
                    <a:pt x="287" y="487"/>
                  </a:cubicBezTo>
                  <a:cubicBezTo>
                    <a:pt x="235" y="395"/>
                    <a:pt x="184" y="300"/>
                    <a:pt x="135" y="207"/>
                  </a:cubicBezTo>
                  <a:cubicBezTo>
                    <a:pt x="123" y="182"/>
                    <a:pt x="112" y="156"/>
                    <a:pt x="100" y="130"/>
                  </a:cubicBezTo>
                  <a:cubicBezTo>
                    <a:pt x="102" y="251"/>
                    <a:pt x="102" y="371"/>
                    <a:pt x="105" y="492"/>
                  </a:cubicBezTo>
                  <a:cubicBezTo>
                    <a:pt x="69" y="492"/>
                    <a:pt x="35" y="492"/>
                    <a:pt x="0" y="492"/>
                  </a:cubicBezTo>
                  <a:cubicBezTo>
                    <a:pt x="0" y="328"/>
                    <a:pt x="0" y="166"/>
                    <a:pt x="0" y="0"/>
                  </a:cubicBezTo>
                  <a:close/>
                </a:path>
              </a:pathLst>
            </a:custGeom>
            <a:solidFill>
              <a:srgbClr val="EC1D2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2" name="Freeform 11"/>
            <p:cNvSpPr>
              <a:spLocks noEditPoints="1"/>
            </p:cNvSpPr>
            <p:nvPr/>
          </p:nvSpPr>
          <p:spPr bwMode="auto">
            <a:xfrm>
              <a:off x="391" y="3874"/>
              <a:ext cx="61" cy="83"/>
            </a:xfrm>
            <a:custGeom>
              <a:avLst/>
              <a:gdLst>
                <a:gd name="T0" fmla="*/ 108 w 372"/>
                <a:gd name="T1" fmla="*/ 305 h 500"/>
                <a:gd name="T2" fmla="*/ 108 w 372"/>
                <a:gd name="T3" fmla="*/ 497 h 500"/>
                <a:gd name="T4" fmla="*/ 0 w 372"/>
                <a:gd name="T5" fmla="*/ 497 h 500"/>
                <a:gd name="T6" fmla="*/ 0 w 372"/>
                <a:gd name="T7" fmla="*/ 12 h 500"/>
                <a:gd name="T8" fmla="*/ 87 w 372"/>
                <a:gd name="T9" fmla="*/ 5 h 500"/>
                <a:gd name="T10" fmla="*/ 228 w 372"/>
                <a:gd name="T11" fmla="*/ 7 h 500"/>
                <a:gd name="T12" fmla="*/ 321 w 372"/>
                <a:gd name="T13" fmla="*/ 53 h 500"/>
                <a:gd name="T14" fmla="*/ 277 w 372"/>
                <a:gd name="T15" fmla="*/ 261 h 500"/>
                <a:gd name="T16" fmla="*/ 267 w 372"/>
                <a:gd name="T17" fmla="*/ 266 h 500"/>
                <a:gd name="T18" fmla="*/ 269 w 372"/>
                <a:gd name="T19" fmla="*/ 269 h 500"/>
                <a:gd name="T20" fmla="*/ 321 w 372"/>
                <a:gd name="T21" fmla="*/ 325 h 500"/>
                <a:gd name="T22" fmla="*/ 349 w 372"/>
                <a:gd name="T23" fmla="*/ 425 h 500"/>
                <a:gd name="T24" fmla="*/ 369 w 372"/>
                <a:gd name="T25" fmla="*/ 497 h 500"/>
                <a:gd name="T26" fmla="*/ 362 w 372"/>
                <a:gd name="T27" fmla="*/ 500 h 500"/>
                <a:gd name="T28" fmla="*/ 264 w 372"/>
                <a:gd name="T29" fmla="*/ 500 h 500"/>
                <a:gd name="T30" fmla="*/ 251 w 372"/>
                <a:gd name="T31" fmla="*/ 489 h 500"/>
                <a:gd name="T32" fmla="*/ 221 w 372"/>
                <a:gd name="T33" fmla="*/ 382 h 500"/>
                <a:gd name="T34" fmla="*/ 210 w 372"/>
                <a:gd name="T35" fmla="*/ 348 h 500"/>
                <a:gd name="T36" fmla="*/ 154 w 372"/>
                <a:gd name="T37" fmla="*/ 305 h 500"/>
                <a:gd name="T38" fmla="*/ 108 w 372"/>
                <a:gd name="T39" fmla="*/ 305 h 500"/>
                <a:gd name="T40" fmla="*/ 110 w 372"/>
                <a:gd name="T41" fmla="*/ 223 h 500"/>
                <a:gd name="T42" fmla="*/ 162 w 372"/>
                <a:gd name="T43" fmla="*/ 223 h 500"/>
                <a:gd name="T44" fmla="*/ 215 w 372"/>
                <a:gd name="T45" fmla="*/ 205 h 500"/>
                <a:gd name="T46" fmla="*/ 210 w 372"/>
                <a:gd name="T47" fmla="*/ 97 h 500"/>
                <a:gd name="T48" fmla="*/ 110 w 372"/>
                <a:gd name="T49" fmla="*/ 89 h 500"/>
                <a:gd name="T50" fmla="*/ 110 w 372"/>
                <a:gd name="T51" fmla="*/ 223 h 5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372" h="500">
                  <a:moveTo>
                    <a:pt x="108" y="305"/>
                  </a:moveTo>
                  <a:cubicBezTo>
                    <a:pt x="108" y="369"/>
                    <a:pt x="108" y="433"/>
                    <a:pt x="108" y="497"/>
                  </a:cubicBezTo>
                  <a:cubicBezTo>
                    <a:pt x="72" y="497"/>
                    <a:pt x="36" y="497"/>
                    <a:pt x="0" y="497"/>
                  </a:cubicBezTo>
                  <a:cubicBezTo>
                    <a:pt x="0" y="335"/>
                    <a:pt x="0" y="174"/>
                    <a:pt x="0" y="12"/>
                  </a:cubicBezTo>
                  <a:cubicBezTo>
                    <a:pt x="28" y="10"/>
                    <a:pt x="57" y="5"/>
                    <a:pt x="87" y="5"/>
                  </a:cubicBezTo>
                  <a:cubicBezTo>
                    <a:pt x="133" y="0"/>
                    <a:pt x="180" y="0"/>
                    <a:pt x="228" y="7"/>
                  </a:cubicBezTo>
                  <a:cubicBezTo>
                    <a:pt x="262" y="15"/>
                    <a:pt x="295" y="28"/>
                    <a:pt x="321" y="53"/>
                  </a:cubicBezTo>
                  <a:cubicBezTo>
                    <a:pt x="367" y="102"/>
                    <a:pt x="372" y="215"/>
                    <a:pt x="277" y="261"/>
                  </a:cubicBezTo>
                  <a:cubicBezTo>
                    <a:pt x="274" y="261"/>
                    <a:pt x="269" y="264"/>
                    <a:pt x="267" y="266"/>
                  </a:cubicBezTo>
                  <a:cubicBezTo>
                    <a:pt x="267" y="266"/>
                    <a:pt x="267" y="269"/>
                    <a:pt x="269" y="269"/>
                  </a:cubicBezTo>
                  <a:cubicBezTo>
                    <a:pt x="295" y="279"/>
                    <a:pt x="310" y="300"/>
                    <a:pt x="321" y="325"/>
                  </a:cubicBezTo>
                  <a:cubicBezTo>
                    <a:pt x="331" y="359"/>
                    <a:pt x="338" y="392"/>
                    <a:pt x="349" y="425"/>
                  </a:cubicBezTo>
                  <a:cubicBezTo>
                    <a:pt x="356" y="448"/>
                    <a:pt x="362" y="471"/>
                    <a:pt x="369" y="497"/>
                  </a:cubicBezTo>
                  <a:cubicBezTo>
                    <a:pt x="367" y="497"/>
                    <a:pt x="364" y="500"/>
                    <a:pt x="362" y="500"/>
                  </a:cubicBezTo>
                  <a:cubicBezTo>
                    <a:pt x="328" y="500"/>
                    <a:pt x="297" y="497"/>
                    <a:pt x="264" y="500"/>
                  </a:cubicBezTo>
                  <a:cubicBezTo>
                    <a:pt x="256" y="500"/>
                    <a:pt x="254" y="497"/>
                    <a:pt x="251" y="489"/>
                  </a:cubicBezTo>
                  <a:cubicBezTo>
                    <a:pt x="241" y="453"/>
                    <a:pt x="231" y="417"/>
                    <a:pt x="221" y="382"/>
                  </a:cubicBezTo>
                  <a:cubicBezTo>
                    <a:pt x="218" y="369"/>
                    <a:pt x="215" y="359"/>
                    <a:pt x="210" y="348"/>
                  </a:cubicBezTo>
                  <a:cubicBezTo>
                    <a:pt x="203" y="323"/>
                    <a:pt x="182" y="307"/>
                    <a:pt x="154" y="305"/>
                  </a:cubicBezTo>
                  <a:cubicBezTo>
                    <a:pt x="139" y="305"/>
                    <a:pt x="126" y="305"/>
                    <a:pt x="108" y="305"/>
                  </a:cubicBezTo>
                  <a:close/>
                  <a:moveTo>
                    <a:pt x="110" y="223"/>
                  </a:moveTo>
                  <a:cubicBezTo>
                    <a:pt x="128" y="223"/>
                    <a:pt x="146" y="225"/>
                    <a:pt x="162" y="223"/>
                  </a:cubicBezTo>
                  <a:cubicBezTo>
                    <a:pt x="182" y="223"/>
                    <a:pt x="200" y="218"/>
                    <a:pt x="215" y="205"/>
                  </a:cubicBezTo>
                  <a:cubicBezTo>
                    <a:pt x="251" y="179"/>
                    <a:pt x="249" y="118"/>
                    <a:pt x="210" y="97"/>
                  </a:cubicBezTo>
                  <a:cubicBezTo>
                    <a:pt x="177" y="79"/>
                    <a:pt x="144" y="87"/>
                    <a:pt x="110" y="89"/>
                  </a:cubicBezTo>
                  <a:cubicBezTo>
                    <a:pt x="110" y="135"/>
                    <a:pt x="110" y="179"/>
                    <a:pt x="110" y="223"/>
                  </a:cubicBezTo>
                  <a:close/>
                </a:path>
              </a:pathLst>
            </a:custGeom>
            <a:solidFill>
              <a:srgbClr val="EC1D2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3" name="Freeform 12"/>
            <p:cNvSpPr>
              <a:spLocks noEditPoints="1"/>
            </p:cNvSpPr>
            <p:nvPr/>
          </p:nvSpPr>
          <p:spPr bwMode="auto">
            <a:xfrm>
              <a:off x="156" y="3875"/>
              <a:ext cx="74" cy="82"/>
            </a:xfrm>
            <a:custGeom>
              <a:avLst/>
              <a:gdLst>
                <a:gd name="T0" fmla="*/ 293 w 449"/>
                <a:gd name="T1" fmla="*/ 366 h 495"/>
                <a:gd name="T2" fmla="*/ 229 w 449"/>
                <a:gd name="T3" fmla="*/ 366 h 495"/>
                <a:gd name="T4" fmla="*/ 162 w 449"/>
                <a:gd name="T5" fmla="*/ 366 h 495"/>
                <a:gd name="T6" fmla="*/ 147 w 449"/>
                <a:gd name="T7" fmla="*/ 379 h 495"/>
                <a:gd name="T8" fmla="*/ 118 w 449"/>
                <a:gd name="T9" fmla="*/ 484 h 495"/>
                <a:gd name="T10" fmla="*/ 108 w 449"/>
                <a:gd name="T11" fmla="*/ 495 h 495"/>
                <a:gd name="T12" fmla="*/ 8 w 449"/>
                <a:gd name="T13" fmla="*/ 495 h 495"/>
                <a:gd name="T14" fmla="*/ 0 w 449"/>
                <a:gd name="T15" fmla="*/ 492 h 495"/>
                <a:gd name="T16" fmla="*/ 26 w 449"/>
                <a:gd name="T17" fmla="*/ 410 h 495"/>
                <a:gd name="T18" fmla="*/ 147 w 449"/>
                <a:gd name="T19" fmla="*/ 10 h 495"/>
                <a:gd name="T20" fmla="*/ 162 w 449"/>
                <a:gd name="T21" fmla="*/ 0 h 495"/>
                <a:gd name="T22" fmla="*/ 298 w 449"/>
                <a:gd name="T23" fmla="*/ 0 h 495"/>
                <a:gd name="T24" fmla="*/ 449 w 449"/>
                <a:gd name="T25" fmla="*/ 492 h 495"/>
                <a:gd name="T26" fmla="*/ 439 w 449"/>
                <a:gd name="T27" fmla="*/ 495 h 495"/>
                <a:gd name="T28" fmla="*/ 341 w 449"/>
                <a:gd name="T29" fmla="*/ 495 h 495"/>
                <a:gd name="T30" fmla="*/ 326 w 449"/>
                <a:gd name="T31" fmla="*/ 482 h 495"/>
                <a:gd name="T32" fmla="*/ 293 w 449"/>
                <a:gd name="T33" fmla="*/ 366 h 495"/>
                <a:gd name="T34" fmla="*/ 170 w 449"/>
                <a:gd name="T35" fmla="*/ 282 h 495"/>
                <a:gd name="T36" fmla="*/ 275 w 449"/>
                <a:gd name="T37" fmla="*/ 282 h 495"/>
                <a:gd name="T38" fmla="*/ 221 w 449"/>
                <a:gd name="T39" fmla="*/ 87 h 495"/>
                <a:gd name="T40" fmla="*/ 170 w 449"/>
                <a:gd name="T41" fmla="*/ 282 h 4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49" h="495">
                  <a:moveTo>
                    <a:pt x="293" y="366"/>
                  </a:moveTo>
                  <a:cubicBezTo>
                    <a:pt x="270" y="366"/>
                    <a:pt x="249" y="366"/>
                    <a:pt x="229" y="366"/>
                  </a:cubicBezTo>
                  <a:cubicBezTo>
                    <a:pt x="205" y="366"/>
                    <a:pt x="185" y="366"/>
                    <a:pt x="162" y="366"/>
                  </a:cubicBezTo>
                  <a:cubicBezTo>
                    <a:pt x="152" y="366"/>
                    <a:pt x="149" y="369"/>
                    <a:pt x="147" y="379"/>
                  </a:cubicBezTo>
                  <a:cubicBezTo>
                    <a:pt x="139" y="412"/>
                    <a:pt x="129" y="448"/>
                    <a:pt x="118" y="484"/>
                  </a:cubicBezTo>
                  <a:cubicBezTo>
                    <a:pt x="118" y="492"/>
                    <a:pt x="116" y="495"/>
                    <a:pt x="108" y="495"/>
                  </a:cubicBezTo>
                  <a:cubicBezTo>
                    <a:pt x="75" y="492"/>
                    <a:pt x="41" y="495"/>
                    <a:pt x="8" y="495"/>
                  </a:cubicBezTo>
                  <a:cubicBezTo>
                    <a:pt x="6" y="495"/>
                    <a:pt x="3" y="492"/>
                    <a:pt x="0" y="492"/>
                  </a:cubicBezTo>
                  <a:cubicBezTo>
                    <a:pt x="8" y="464"/>
                    <a:pt x="18" y="438"/>
                    <a:pt x="26" y="410"/>
                  </a:cubicBezTo>
                  <a:cubicBezTo>
                    <a:pt x="67" y="277"/>
                    <a:pt x="108" y="143"/>
                    <a:pt x="147" y="10"/>
                  </a:cubicBezTo>
                  <a:cubicBezTo>
                    <a:pt x="149" y="2"/>
                    <a:pt x="154" y="0"/>
                    <a:pt x="162" y="0"/>
                  </a:cubicBezTo>
                  <a:cubicBezTo>
                    <a:pt x="208" y="0"/>
                    <a:pt x="252" y="0"/>
                    <a:pt x="298" y="0"/>
                  </a:cubicBezTo>
                  <a:cubicBezTo>
                    <a:pt x="349" y="164"/>
                    <a:pt x="398" y="328"/>
                    <a:pt x="449" y="492"/>
                  </a:cubicBezTo>
                  <a:cubicBezTo>
                    <a:pt x="446" y="492"/>
                    <a:pt x="444" y="495"/>
                    <a:pt x="439" y="495"/>
                  </a:cubicBezTo>
                  <a:cubicBezTo>
                    <a:pt x="408" y="495"/>
                    <a:pt x="375" y="492"/>
                    <a:pt x="341" y="495"/>
                  </a:cubicBezTo>
                  <a:cubicBezTo>
                    <a:pt x="331" y="495"/>
                    <a:pt x="329" y="489"/>
                    <a:pt x="326" y="482"/>
                  </a:cubicBezTo>
                  <a:cubicBezTo>
                    <a:pt x="316" y="443"/>
                    <a:pt x="303" y="405"/>
                    <a:pt x="293" y="366"/>
                  </a:cubicBezTo>
                  <a:close/>
                  <a:moveTo>
                    <a:pt x="170" y="282"/>
                  </a:moveTo>
                  <a:cubicBezTo>
                    <a:pt x="203" y="282"/>
                    <a:pt x="239" y="282"/>
                    <a:pt x="275" y="282"/>
                  </a:cubicBezTo>
                  <a:cubicBezTo>
                    <a:pt x="254" y="215"/>
                    <a:pt x="236" y="151"/>
                    <a:pt x="221" y="87"/>
                  </a:cubicBezTo>
                  <a:cubicBezTo>
                    <a:pt x="203" y="151"/>
                    <a:pt x="185" y="218"/>
                    <a:pt x="170" y="282"/>
                  </a:cubicBezTo>
                  <a:close/>
                </a:path>
              </a:pathLst>
            </a:custGeom>
            <a:solidFill>
              <a:srgbClr val="EC1D2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4" name="Freeform 13"/>
            <p:cNvSpPr>
              <a:spLocks noEditPoints="1"/>
            </p:cNvSpPr>
            <p:nvPr/>
          </p:nvSpPr>
          <p:spPr bwMode="auto">
            <a:xfrm>
              <a:off x="546" y="3875"/>
              <a:ext cx="74" cy="82"/>
            </a:xfrm>
            <a:custGeom>
              <a:avLst/>
              <a:gdLst>
                <a:gd name="T0" fmla="*/ 151 w 451"/>
                <a:gd name="T1" fmla="*/ 0 h 495"/>
                <a:gd name="T2" fmla="*/ 297 w 451"/>
                <a:gd name="T3" fmla="*/ 0 h 495"/>
                <a:gd name="T4" fmla="*/ 451 w 451"/>
                <a:gd name="T5" fmla="*/ 495 h 495"/>
                <a:gd name="T6" fmla="*/ 420 w 451"/>
                <a:gd name="T7" fmla="*/ 495 h 495"/>
                <a:gd name="T8" fmla="*/ 338 w 451"/>
                <a:gd name="T9" fmla="*/ 495 h 495"/>
                <a:gd name="T10" fmla="*/ 325 w 451"/>
                <a:gd name="T11" fmla="*/ 484 h 495"/>
                <a:gd name="T12" fmla="*/ 292 w 451"/>
                <a:gd name="T13" fmla="*/ 374 h 495"/>
                <a:gd name="T14" fmla="*/ 284 w 451"/>
                <a:gd name="T15" fmla="*/ 366 h 495"/>
                <a:gd name="T16" fmla="*/ 151 w 451"/>
                <a:gd name="T17" fmla="*/ 366 h 495"/>
                <a:gd name="T18" fmla="*/ 120 w 451"/>
                <a:gd name="T19" fmla="*/ 479 h 495"/>
                <a:gd name="T20" fmla="*/ 102 w 451"/>
                <a:gd name="T21" fmla="*/ 495 h 495"/>
                <a:gd name="T22" fmla="*/ 13 w 451"/>
                <a:gd name="T23" fmla="*/ 495 h 495"/>
                <a:gd name="T24" fmla="*/ 0 w 451"/>
                <a:gd name="T25" fmla="*/ 495 h 495"/>
                <a:gd name="T26" fmla="*/ 151 w 451"/>
                <a:gd name="T27" fmla="*/ 0 h 495"/>
                <a:gd name="T28" fmla="*/ 220 w 451"/>
                <a:gd name="T29" fmla="*/ 87 h 495"/>
                <a:gd name="T30" fmla="*/ 169 w 451"/>
                <a:gd name="T31" fmla="*/ 282 h 495"/>
                <a:gd name="T32" fmla="*/ 274 w 451"/>
                <a:gd name="T33" fmla="*/ 282 h 495"/>
                <a:gd name="T34" fmla="*/ 220 w 451"/>
                <a:gd name="T35" fmla="*/ 87 h 4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451" h="495">
                  <a:moveTo>
                    <a:pt x="151" y="0"/>
                  </a:moveTo>
                  <a:cubicBezTo>
                    <a:pt x="200" y="0"/>
                    <a:pt x="249" y="0"/>
                    <a:pt x="297" y="0"/>
                  </a:cubicBezTo>
                  <a:cubicBezTo>
                    <a:pt x="349" y="164"/>
                    <a:pt x="397" y="328"/>
                    <a:pt x="451" y="495"/>
                  </a:cubicBezTo>
                  <a:cubicBezTo>
                    <a:pt x="438" y="495"/>
                    <a:pt x="431" y="495"/>
                    <a:pt x="420" y="495"/>
                  </a:cubicBezTo>
                  <a:cubicBezTo>
                    <a:pt x="395" y="495"/>
                    <a:pt x="366" y="492"/>
                    <a:pt x="338" y="495"/>
                  </a:cubicBezTo>
                  <a:cubicBezTo>
                    <a:pt x="331" y="495"/>
                    <a:pt x="328" y="492"/>
                    <a:pt x="325" y="484"/>
                  </a:cubicBezTo>
                  <a:cubicBezTo>
                    <a:pt x="315" y="448"/>
                    <a:pt x="305" y="410"/>
                    <a:pt x="292" y="374"/>
                  </a:cubicBezTo>
                  <a:cubicBezTo>
                    <a:pt x="292" y="371"/>
                    <a:pt x="287" y="366"/>
                    <a:pt x="284" y="366"/>
                  </a:cubicBezTo>
                  <a:cubicBezTo>
                    <a:pt x="241" y="366"/>
                    <a:pt x="195" y="366"/>
                    <a:pt x="151" y="366"/>
                  </a:cubicBezTo>
                  <a:cubicBezTo>
                    <a:pt x="141" y="405"/>
                    <a:pt x="131" y="441"/>
                    <a:pt x="120" y="479"/>
                  </a:cubicBezTo>
                  <a:cubicBezTo>
                    <a:pt x="118" y="489"/>
                    <a:pt x="113" y="495"/>
                    <a:pt x="102" y="495"/>
                  </a:cubicBezTo>
                  <a:cubicBezTo>
                    <a:pt x="72" y="492"/>
                    <a:pt x="41" y="495"/>
                    <a:pt x="13" y="495"/>
                  </a:cubicBezTo>
                  <a:cubicBezTo>
                    <a:pt x="8" y="495"/>
                    <a:pt x="5" y="495"/>
                    <a:pt x="0" y="495"/>
                  </a:cubicBezTo>
                  <a:cubicBezTo>
                    <a:pt x="51" y="328"/>
                    <a:pt x="100" y="164"/>
                    <a:pt x="151" y="0"/>
                  </a:cubicBezTo>
                  <a:close/>
                  <a:moveTo>
                    <a:pt x="220" y="87"/>
                  </a:moveTo>
                  <a:cubicBezTo>
                    <a:pt x="202" y="151"/>
                    <a:pt x="184" y="218"/>
                    <a:pt x="169" y="282"/>
                  </a:cubicBezTo>
                  <a:cubicBezTo>
                    <a:pt x="202" y="282"/>
                    <a:pt x="238" y="282"/>
                    <a:pt x="274" y="282"/>
                  </a:cubicBezTo>
                  <a:cubicBezTo>
                    <a:pt x="256" y="215"/>
                    <a:pt x="238" y="151"/>
                    <a:pt x="220" y="87"/>
                  </a:cubicBezTo>
                  <a:close/>
                </a:path>
              </a:pathLst>
            </a:custGeom>
            <a:solidFill>
              <a:srgbClr val="EC1D2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5" name="Freeform 14"/>
            <p:cNvSpPr>
              <a:spLocks/>
            </p:cNvSpPr>
            <p:nvPr/>
          </p:nvSpPr>
          <p:spPr bwMode="auto">
            <a:xfrm>
              <a:off x="331" y="3875"/>
              <a:ext cx="52" cy="82"/>
            </a:xfrm>
            <a:custGeom>
              <a:avLst/>
              <a:gdLst>
                <a:gd name="T0" fmla="*/ 313 w 313"/>
                <a:gd name="T1" fmla="*/ 490 h 490"/>
                <a:gd name="T2" fmla="*/ 0 w 313"/>
                <a:gd name="T3" fmla="*/ 490 h 490"/>
                <a:gd name="T4" fmla="*/ 0 w 313"/>
                <a:gd name="T5" fmla="*/ 0 h 490"/>
                <a:gd name="T6" fmla="*/ 303 w 313"/>
                <a:gd name="T7" fmla="*/ 0 h 490"/>
                <a:gd name="T8" fmla="*/ 303 w 313"/>
                <a:gd name="T9" fmla="*/ 90 h 490"/>
                <a:gd name="T10" fmla="*/ 110 w 313"/>
                <a:gd name="T11" fmla="*/ 90 h 490"/>
                <a:gd name="T12" fmla="*/ 110 w 313"/>
                <a:gd name="T13" fmla="*/ 193 h 490"/>
                <a:gd name="T14" fmla="*/ 292 w 313"/>
                <a:gd name="T15" fmla="*/ 193 h 490"/>
                <a:gd name="T16" fmla="*/ 292 w 313"/>
                <a:gd name="T17" fmla="*/ 282 h 490"/>
                <a:gd name="T18" fmla="*/ 110 w 313"/>
                <a:gd name="T19" fmla="*/ 282 h 490"/>
                <a:gd name="T20" fmla="*/ 110 w 313"/>
                <a:gd name="T21" fmla="*/ 398 h 490"/>
                <a:gd name="T22" fmla="*/ 313 w 313"/>
                <a:gd name="T23" fmla="*/ 398 h 490"/>
                <a:gd name="T24" fmla="*/ 313 w 313"/>
                <a:gd name="T25" fmla="*/ 490 h 4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13" h="490">
                  <a:moveTo>
                    <a:pt x="313" y="490"/>
                  </a:moveTo>
                  <a:cubicBezTo>
                    <a:pt x="208" y="490"/>
                    <a:pt x="105" y="490"/>
                    <a:pt x="0" y="490"/>
                  </a:cubicBezTo>
                  <a:cubicBezTo>
                    <a:pt x="0" y="326"/>
                    <a:pt x="0" y="164"/>
                    <a:pt x="0" y="0"/>
                  </a:cubicBezTo>
                  <a:cubicBezTo>
                    <a:pt x="100" y="0"/>
                    <a:pt x="200" y="0"/>
                    <a:pt x="303" y="0"/>
                  </a:cubicBezTo>
                  <a:cubicBezTo>
                    <a:pt x="303" y="29"/>
                    <a:pt x="303" y="59"/>
                    <a:pt x="303" y="90"/>
                  </a:cubicBezTo>
                  <a:cubicBezTo>
                    <a:pt x="239" y="90"/>
                    <a:pt x="175" y="90"/>
                    <a:pt x="110" y="90"/>
                  </a:cubicBezTo>
                  <a:cubicBezTo>
                    <a:pt x="110" y="123"/>
                    <a:pt x="110" y="157"/>
                    <a:pt x="110" y="193"/>
                  </a:cubicBezTo>
                  <a:cubicBezTo>
                    <a:pt x="172" y="193"/>
                    <a:pt x="231" y="193"/>
                    <a:pt x="292" y="193"/>
                  </a:cubicBezTo>
                  <a:cubicBezTo>
                    <a:pt x="292" y="223"/>
                    <a:pt x="292" y="252"/>
                    <a:pt x="292" y="282"/>
                  </a:cubicBezTo>
                  <a:cubicBezTo>
                    <a:pt x="231" y="282"/>
                    <a:pt x="172" y="282"/>
                    <a:pt x="110" y="282"/>
                  </a:cubicBezTo>
                  <a:cubicBezTo>
                    <a:pt x="110" y="321"/>
                    <a:pt x="110" y="359"/>
                    <a:pt x="110" y="398"/>
                  </a:cubicBezTo>
                  <a:cubicBezTo>
                    <a:pt x="177" y="398"/>
                    <a:pt x="244" y="398"/>
                    <a:pt x="313" y="398"/>
                  </a:cubicBezTo>
                  <a:cubicBezTo>
                    <a:pt x="313" y="431"/>
                    <a:pt x="313" y="459"/>
                    <a:pt x="313" y="490"/>
                  </a:cubicBezTo>
                  <a:close/>
                </a:path>
              </a:pathLst>
            </a:custGeom>
            <a:solidFill>
              <a:srgbClr val="EC1D2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6" name="Freeform 15"/>
            <p:cNvSpPr>
              <a:spLocks/>
            </p:cNvSpPr>
            <p:nvPr/>
          </p:nvSpPr>
          <p:spPr bwMode="auto">
            <a:xfrm>
              <a:off x="480" y="3873"/>
              <a:ext cx="66" cy="86"/>
            </a:xfrm>
            <a:custGeom>
              <a:avLst/>
              <a:gdLst>
                <a:gd name="T0" fmla="*/ 371 w 397"/>
                <a:gd name="T1" fmla="*/ 112 h 515"/>
                <a:gd name="T2" fmla="*/ 238 w 397"/>
                <a:gd name="T3" fmla="*/ 99 h 515"/>
                <a:gd name="T4" fmla="*/ 125 w 397"/>
                <a:gd name="T5" fmla="*/ 230 h 515"/>
                <a:gd name="T6" fmla="*/ 130 w 397"/>
                <a:gd name="T7" fmla="*/ 310 h 515"/>
                <a:gd name="T8" fmla="*/ 266 w 397"/>
                <a:gd name="T9" fmla="*/ 417 h 515"/>
                <a:gd name="T10" fmla="*/ 320 w 397"/>
                <a:gd name="T11" fmla="*/ 415 h 515"/>
                <a:gd name="T12" fmla="*/ 374 w 397"/>
                <a:gd name="T13" fmla="*/ 402 h 515"/>
                <a:gd name="T14" fmla="*/ 389 w 397"/>
                <a:gd name="T15" fmla="*/ 492 h 515"/>
                <a:gd name="T16" fmla="*/ 343 w 397"/>
                <a:gd name="T17" fmla="*/ 502 h 515"/>
                <a:gd name="T18" fmla="*/ 161 w 397"/>
                <a:gd name="T19" fmla="*/ 494 h 515"/>
                <a:gd name="T20" fmla="*/ 10 w 397"/>
                <a:gd name="T21" fmla="*/ 312 h 515"/>
                <a:gd name="T22" fmla="*/ 30 w 397"/>
                <a:gd name="T23" fmla="*/ 140 h 515"/>
                <a:gd name="T24" fmla="*/ 210 w 397"/>
                <a:gd name="T25" fmla="*/ 10 h 515"/>
                <a:gd name="T26" fmla="*/ 376 w 397"/>
                <a:gd name="T27" fmla="*/ 17 h 515"/>
                <a:gd name="T28" fmla="*/ 397 w 397"/>
                <a:gd name="T29" fmla="*/ 25 h 515"/>
                <a:gd name="T30" fmla="*/ 371 w 397"/>
                <a:gd name="T31" fmla="*/ 112 h 5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97" h="515">
                  <a:moveTo>
                    <a:pt x="371" y="112"/>
                  </a:moveTo>
                  <a:cubicBezTo>
                    <a:pt x="328" y="94"/>
                    <a:pt x="284" y="89"/>
                    <a:pt x="238" y="99"/>
                  </a:cubicBezTo>
                  <a:cubicBezTo>
                    <a:pt x="174" y="112"/>
                    <a:pt x="130" y="164"/>
                    <a:pt x="125" y="230"/>
                  </a:cubicBezTo>
                  <a:cubicBezTo>
                    <a:pt x="123" y="258"/>
                    <a:pt x="123" y="284"/>
                    <a:pt x="130" y="310"/>
                  </a:cubicBezTo>
                  <a:cubicBezTo>
                    <a:pt x="148" y="374"/>
                    <a:pt x="197" y="415"/>
                    <a:pt x="266" y="417"/>
                  </a:cubicBezTo>
                  <a:cubicBezTo>
                    <a:pt x="284" y="417"/>
                    <a:pt x="302" y="417"/>
                    <a:pt x="320" y="415"/>
                  </a:cubicBezTo>
                  <a:cubicBezTo>
                    <a:pt x="338" y="412"/>
                    <a:pt x="353" y="407"/>
                    <a:pt x="374" y="402"/>
                  </a:cubicBezTo>
                  <a:cubicBezTo>
                    <a:pt x="379" y="430"/>
                    <a:pt x="384" y="458"/>
                    <a:pt x="389" y="492"/>
                  </a:cubicBezTo>
                  <a:cubicBezTo>
                    <a:pt x="374" y="494"/>
                    <a:pt x="358" y="499"/>
                    <a:pt x="343" y="502"/>
                  </a:cubicBezTo>
                  <a:cubicBezTo>
                    <a:pt x="282" y="515"/>
                    <a:pt x="220" y="515"/>
                    <a:pt x="161" y="494"/>
                  </a:cubicBezTo>
                  <a:cubicBezTo>
                    <a:pt x="74" y="463"/>
                    <a:pt x="23" y="402"/>
                    <a:pt x="10" y="312"/>
                  </a:cubicBezTo>
                  <a:cubicBezTo>
                    <a:pt x="0" y="253"/>
                    <a:pt x="5" y="194"/>
                    <a:pt x="30" y="140"/>
                  </a:cubicBezTo>
                  <a:cubicBezTo>
                    <a:pt x="69" y="66"/>
                    <a:pt x="130" y="25"/>
                    <a:pt x="210" y="10"/>
                  </a:cubicBezTo>
                  <a:cubicBezTo>
                    <a:pt x="266" y="0"/>
                    <a:pt x="323" y="2"/>
                    <a:pt x="376" y="17"/>
                  </a:cubicBezTo>
                  <a:cubicBezTo>
                    <a:pt x="384" y="20"/>
                    <a:pt x="389" y="23"/>
                    <a:pt x="397" y="25"/>
                  </a:cubicBezTo>
                  <a:cubicBezTo>
                    <a:pt x="387" y="53"/>
                    <a:pt x="379" y="84"/>
                    <a:pt x="371" y="112"/>
                  </a:cubicBezTo>
                  <a:close/>
                </a:path>
              </a:pathLst>
            </a:custGeom>
            <a:solidFill>
              <a:srgbClr val="EC1D2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7" name="Freeform 16"/>
            <p:cNvSpPr>
              <a:spLocks noEditPoints="1"/>
            </p:cNvSpPr>
            <p:nvPr/>
          </p:nvSpPr>
          <p:spPr bwMode="auto">
            <a:xfrm>
              <a:off x="429" y="3970"/>
              <a:ext cx="53" cy="70"/>
            </a:xfrm>
            <a:custGeom>
              <a:avLst/>
              <a:gdLst>
                <a:gd name="T0" fmla="*/ 223 w 321"/>
                <a:gd name="T1" fmla="*/ 190 h 418"/>
                <a:gd name="T2" fmla="*/ 264 w 321"/>
                <a:gd name="T3" fmla="*/ 213 h 418"/>
                <a:gd name="T4" fmla="*/ 246 w 321"/>
                <a:gd name="T5" fmla="*/ 387 h 418"/>
                <a:gd name="T6" fmla="*/ 159 w 321"/>
                <a:gd name="T7" fmla="*/ 413 h 418"/>
                <a:gd name="T8" fmla="*/ 3 w 321"/>
                <a:gd name="T9" fmla="*/ 410 h 418"/>
                <a:gd name="T10" fmla="*/ 0 w 321"/>
                <a:gd name="T11" fmla="*/ 407 h 418"/>
                <a:gd name="T12" fmla="*/ 0 w 321"/>
                <a:gd name="T13" fmla="*/ 8 h 418"/>
                <a:gd name="T14" fmla="*/ 77 w 321"/>
                <a:gd name="T15" fmla="*/ 2 h 418"/>
                <a:gd name="T16" fmla="*/ 193 w 321"/>
                <a:gd name="T17" fmla="*/ 8 h 418"/>
                <a:gd name="T18" fmla="*/ 262 w 321"/>
                <a:gd name="T19" fmla="*/ 41 h 418"/>
                <a:gd name="T20" fmla="*/ 241 w 321"/>
                <a:gd name="T21" fmla="*/ 182 h 418"/>
                <a:gd name="T22" fmla="*/ 223 w 321"/>
                <a:gd name="T23" fmla="*/ 190 h 418"/>
                <a:gd name="T24" fmla="*/ 93 w 321"/>
                <a:gd name="T25" fmla="*/ 346 h 418"/>
                <a:gd name="T26" fmla="*/ 159 w 321"/>
                <a:gd name="T27" fmla="*/ 341 h 418"/>
                <a:gd name="T28" fmla="*/ 203 w 321"/>
                <a:gd name="T29" fmla="*/ 287 h 418"/>
                <a:gd name="T30" fmla="*/ 159 w 321"/>
                <a:gd name="T31" fmla="*/ 236 h 418"/>
                <a:gd name="T32" fmla="*/ 93 w 321"/>
                <a:gd name="T33" fmla="*/ 228 h 418"/>
                <a:gd name="T34" fmla="*/ 93 w 321"/>
                <a:gd name="T35" fmla="*/ 346 h 418"/>
                <a:gd name="T36" fmla="*/ 93 w 321"/>
                <a:gd name="T37" fmla="*/ 72 h 418"/>
                <a:gd name="T38" fmla="*/ 93 w 321"/>
                <a:gd name="T39" fmla="*/ 164 h 418"/>
                <a:gd name="T40" fmla="*/ 126 w 321"/>
                <a:gd name="T41" fmla="*/ 164 h 418"/>
                <a:gd name="T42" fmla="*/ 167 w 321"/>
                <a:gd name="T43" fmla="*/ 156 h 418"/>
                <a:gd name="T44" fmla="*/ 193 w 321"/>
                <a:gd name="T45" fmla="*/ 110 h 418"/>
                <a:gd name="T46" fmla="*/ 159 w 321"/>
                <a:gd name="T47" fmla="*/ 72 h 418"/>
                <a:gd name="T48" fmla="*/ 93 w 321"/>
                <a:gd name="T49" fmla="*/ 72 h 4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321" h="418">
                  <a:moveTo>
                    <a:pt x="223" y="190"/>
                  </a:moveTo>
                  <a:cubicBezTo>
                    <a:pt x="236" y="197"/>
                    <a:pt x="252" y="205"/>
                    <a:pt x="264" y="213"/>
                  </a:cubicBezTo>
                  <a:cubicBezTo>
                    <a:pt x="321" y="259"/>
                    <a:pt x="311" y="348"/>
                    <a:pt x="246" y="387"/>
                  </a:cubicBezTo>
                  <a:cubicBezTo>
                    <a:pt x="221" y="402"/>
                    <a:pt x="190" y="410"/>
                    <a:pt x="159" y="413"/>
                  </a:cubicBezTo>
                  <a:cubicBezTo>
                    <a:pt x="108" y="418"/>
                    <a:pt x="57" y="415"/>
                    <a:pt x="3" y="410"/>
                  </a:cubicBezTo>
                  <a:cubicBezTo>
                    <a:pt x="3" y="410"/>
                    <a:pt x="0" y="410"/>
                    <a:pt x="0" y="407"/>
                  </a:cubicBezTo>
                  <a:cubicBezTo>
                    <a:pt x="0" y="277"/>
                    <a:pt x="0" y="143"/>
                    <a:pt x="0" y="8"/>
                  </a:cubicBezTo>
                  <a:cubicBezTo>
                    <a:pt x="26" y="5"/>
                    <a:pt x="52" y="2"/>
                    <a:pt x="77" y="2"/>
                  </a:cubicBezTo>
                  <a:cubicBezTo>
                    <a:pt x="116" y="0"/>
                    <a:pt x="154" y="0"/>
                    <a:pt x="193" y="8"/>
                  </a:cubicBezTo>
                  <a:cubicBezTo>
                    <a:pt x="218" y="13"/>
                    <a:pt x="244" y="23"/>
                    <a:pt x="262" y="41"/>
                  </a:cubicBezTo>
                  <a:cubicBezTo>
                    <a:pt x="303" y="84"/>
                    <a:pt x="293" y="151"/>
                    <a:pt x="241" y="182"/>
                  </a:cubicBezTo>
                  <a:cubicBezTo>
                    <a:pt x="234" y="184"/>
                    <a:pt x="229" y="187"/>
                    <a:pt x="223" y="190"/>
                  </a:cubicBezTo>
                  <a:close/>
                  <a:moveTo>
                    <a:pt x="93" y="346"/>
                  </a:moveTo>
                  <a:cubicBezTo>
                    <a:pt x="116" y="346"/>
                    <a:pt x="136" y="348"/>
                    <a:pt x="159" y="341"/>
                  </a:cubicBezTo>
                  <a:cubicBezTo>
                    <a:pt x="188" y="333"/>
                    <a:pt x="203" y="315"/>
                    <a:pt x="203" y="287"/>
                  </a:cubicBezTo>
                  <a:cubicBezTo>
                    <a:pt x="203" y="261"/>
                    <a:pt x="190" y="243"/>
                    <a:pt x="159" y="236"/>
                  </a:cubicBezTo>
                  <a:cubicBezTo>
                    <a:pt x="139" y="231"/>
                    <a:pt x="116" y="231"/>
                    <a:pt x="93" y="228"/>
                  </a:cubicBezTo>
                  <a:cubicBezTo>
                    <a:pt x="93" y="269"/>
                    <a:pt x="93" y="307"/>
                    <a:pt x="93" y="346"/>
                  </a:cubicBezTo>
                  <a:close/>
                  <a:moveTo>
                    <a:pt x="93" y="72"/>
                  </a:moveTo>
                  <a:cubicBezTo>
                    <a:pt x="93" y="102"/>
                    <a:pt x="93" y="133"/>
                    <a:pt x="93" y="164"/>
                  </a:cubicBezTo>
                  <a:cubicBezTo>
                    <a:pt x="103" y="164"/>
                    <a:pt x="116" y="166"/>
                    <a:pt x="126" y="164"/>
                  </a:cubicBezTo>
                  <a:cubicBezTo>
                    <a:pt x="141" y="161"/>
                    <a:pt x="154" y="161"/>
                    <a:pt x="167" y="156"/>
                  </a:cubicBezTo>
                  <a:cubicBezTo>
                    <a:pt x="188" y="146"/>
                    <a:pt x="195" y="131"/>
                    <a:pt x="193" y="110"/>
                  </a:cubicBezTo>
                  <a:cubicBezTo>
                    <a:pt x="193" y="92"/>
                    <a:pt x="180" y="77"/>
                    <a:pt x="159" y="72"/>
                  </a:cubicBezTo>
                  <a:cubicBezTo>
                    <a:pt x="136" y="66"/>
                    <a:pt x="116" y="69"/>
                    <a:pt x="93" y="72"/>
                  </a:cubicBezTo>
                  <a:close/>
                </a:path>
              </a:pathLst>
            </a:custGeom>
            <a:solidFill>
              <a:srgbClr val="22419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8" name="Freeform 17"/>
            <p:cNvSpPr>
              <a:spLocks noEditPoints="1"/>
            </p:cNvSpPr>
            <p:nvPr/>
          </p:nvSpPr>
          <p:spPr bwMode="auto">
            <a:xfrm>
              <a:off x="361" y="3969"/>
              <a:ext cx="65" cy="71"/>
            </a:xfrm>
            <a:custGeom>
              <a:avLst/>
              <a:gdLst>
                <a:gd name="T0" fmla="*/ 197 w 400"/>
                <a:gd name="T1" fmla="*/ 423 h 423"/>
                <a:gd name="T2" fmla="*/ 8 w 400"/>
                <a:gd name="T3" fmla="*/ 259 h 423"/>
                <a:gd name="T4" fmla="*/ 26 w 400"/>
                <a:gd name="T5" fmla="*/ 113 h 423"/>
                <a:gd name="T6" fmla="*/ 213 w 400"/>
                <a:gd name="T7" fmla="*/ 2 h 423"/>
                <a:gd name="T8" fmla="*/ 395 w 400"/>
                <a:gd name="T9" fmla="*/ 184 h 423"/>
                <a:gd name="T10" fmla="*/ 372 w 400"/>
                <a:gd name="T11" fmla="*/ 320 h 423"/>
                <a:gd name="T12" fmla="*/ 203 w 400"/>
                <a:gd name="T13" fmla="*/ 423 h 423"/>
                <a:gd name="T14" fmla="*/ 197 w 400"/>
                <a:gd name="T15" fmla="*/ 423 h 423"/>
                <a:gd name="T16" fmla="*/ 103 w 400"/>
                <a:gd name="T17" fmla="*/ 210 h 423"/>
                <a:gd name="T18" fmla="*/ 121 w 400"/>
                <a:gd name="T19" fmla="*/ 297 h 423"/>
                <a:gd name="T20" fmla="*/ 200 w 400"/>
                <a:gd name="T21" fmla="*/ 348 h 423"/>
                <a:gd name="T22" fmla="*/ 280 w 400"/>
                <a:gd name="T23" fmla="*/ 297 h 423"/>
                <a:gd name="T24" fmla="*/ 297 w 400"/>
                <a:gd name="T25" fmla="*/ 200 h 423"/>
                <a:gd name="T26" fmla="*/ 269 w 400"/>
                <a:gd name="T27" fmla="*/ 113 h 423"/>
                <a:gd name="T28" fmla="*/ 133 w 400"/>
                <a:gd name="T29" fmla="*/ 110 h 423"/>
                <a:gd name="T30" fmla="*/ 103 w 400"/>
                <a:gd name="T31" fmla="*/ 210 h 4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400" h="423">
                  <a:moveTo>
                    <a:pt x="197" y="423"/>
                  </a:moveTo>
                  <a:cubicBezTo>
                    <a:pt x="98" y="423"/>
                    <a:pt x="23" y="359"/>
                    <a:pt x="8" y="259"/>
                  </a:cubicBezTo>
                  <a:cubicBezTo>
                    <a:pt x="0" y="210"/>
                    <a:pt x="5" y="159"/>
                    <a:pt x="26" y="113"/>
                  </a:cubicBezTo>
                  <a:cubicBezTo>
                    <a:pt x="59" y="38"/>
                    <a:pt x="131" y="0"/>
                    <a:pt x="213" y="2"/>
                  </a:cubicBezTo>
                  <a:cubicBezTo>
                    <a:pt x="323" y="7"/>
                    <a:pt x="387" y="87"/>
                    <a:pt x="395" y="184"/>
                  </a:cubicBezTo>
                  <a:cubicBezTo>
                    <a:pt x="400" y="230"/>
                    <a:pt x="395" y="279"/>
                    <a:pt x="372" y="320"/>
                  </a:cubicBezTo>
                  <a:cubicBezTo>
                    <a:pt x="336" y="389"/>
                    <a:pt x="277" y="420"/>
                    <a:pt x="203" y="423"/>
                  </a:cubicBezTo>
                  <a:cubicBezTo>
                    <a:pt x="200" y="423"/>
                    <a:pt x="200" y="423"/>
                    <a:pt x="197" y="423"/>
                  </a:cubicBezTo>
                  <a:close/>
                  <a:moveTo>
                    <a:pt x="103" y="210"/>
                  </a:moveTo>
                  <a:cubicBezTo>
                    <a:pt x="103" y="243"/>
                    <a:pt x="108" y="271"/>
                    <a:pt x="121" y="297"/>
                  </a:cubicBezTo>
                  <a:cubicBezTo>
                    <a:pt x="139" y="330"/>
                    <a:pt x="164" y="348"/>
                    <a:pt x="200" y="348"/>
                  </a:cubicBezTo>
                  <a:cubicBezTo>
                    <a:pt x="239" y="348"/>
                    <a:pt x="264" y="330"/>
                    <a:pt x="280" y="297"/>
                  </a:cubicBezTo>
                  <a:cubicBezTo>
                    <a:pt x="295" y="266"/>
                    <a:pt x="300" y="233"/>
                    <a:pt x="297" y="200"/>
                  </a:cubicBezTo>
                  <a:cubicBezTo>
                    <a:pt x="297" y="169"/>
                    <a:pt x="290" y="138"/>
                    <a:pt x="269" y="113"/>
                  </a:cubicBezTo>
                  <a:cubicBezTo>
                    <a:pt x="236" y="64"/>
                    <a:pt x="169" y="64"/>
                    <a:pt x="133" y="110"/>
                  </a:cubicBezTo>
                  <a:cubicBezTo>
                    <a:pt x="110" y="141"/>
                    <a:pt x="103" y="177"/>
                    <a:pt x="103" y="210"/>
                  </a:cubicBezTo>
                  <a:close/>
                </a:path>
              </a:pathLst>
            </a:custGeom>
            <a:solidFill>
              <a:srgbClr val="22419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9" name="Freeform 18"/>
            <p:cNvSpPr>
              <a:spLocks/>
            </p:cNvSpPr>
            <p:nvPr/>
          </p:nvSpPr>
          <p:spPr bwMode="auto">
            <a:xfrm>
              <a:off x="475" y="3969"/>
              <a:ext cx="52" cy="71"/>
            </a:xfrm>
            <a:custGeom>
              <a:avLst/>
              <a:gdLst>
                <a:gd name="T0" fmla="*/ 18 w 315"/>
                <a:gd name="T1" fmla="*/ 395 h 423"/>
                <a:gd name="T2" fmla="*/ 36 w 315"/>
                <a:gd name="T3" fmla="*/ 321 h 423"/>
                <a:gd name="T4" fmla="*/ 90 w 315"/>
                <a:gd name="T5" fmla="*/ 336 h 423"/>
                <a:gd name="T6" fmla="*/ 166 w 315"/>
                <a:gd name="T7" fmla="*/ 341 h 423"/>
                <a:gd name="T8" fmla="*/ 202 w 315"/>
                <a:gd name="T9" fmla="*/ 295 h 423"/>
                <a:gd name="T10" fmla="*/ 182 w 315"/>
                <a:gd name="T11" fmla="*/ 267 h 423"/>
                <a:gd name="T12" fmla="*/ 138 w 315"/>
                <a:gd name="T13" fmla="*/ 244 h 423"/>
                <a:gd name="T14" fmla="*/ 74 w 315"/>
                <a:gd name="T15" fmla="*/ 213 h 423"/>
                <a:gd name="T16" fmla="*/ 79 w 315"/>
                <a:gd name="T17" fmla="*/ 23 h 423"/>
                <a:gd name="T18" fmla="*/ 169 w 315"/>
                <a:gd name="T19" fmla="*/ 0 h 423"/>
                <a:gd name="T20" fmla="*/ 274 w 315"/>
                <a:gd name="T21" fmla="*/ 18 h 423"/>
                <a:gd name="T22" fmla="*/ 282 w 315"/>
                <a:gd name="T23" fmla="*/ 21 h 423"/>
                <a:gd name="T24" fmla="*/ 261 w 315"/>
                <a:gd name="T25" fmla="*/ 95 h 423"/>
                <a:gd name="T26" fmla="*/ 218 w 315"/>
                <a:gd name="T27" fmla="*/ 82 h 423"/>
                <a:gd name="T28" fmla="*/ 148 w 315"/>
                <a:gd name="T29" fmla="*/ 80 h 423"/>
                <a:gd name="T30" fmla="*/ 120 w 315"/>
                <a:gd name="T31" fmla="*/ 126 h 423"/>
                <a:gd name="T32" fmla="*/ 141 w 315"/>
                <a:gd name="T33" fmla="*/ 149 h 423"/>
                <a:gd name="T34" fmla="*/ 197 w 315"/>
                <a:gd name="T35" fmla="*/ 175 h 423"/>
                <a:gd name="T36" fmla="*/ 261 w 315"/>
                <a:gd name="T37" fmla="*/ 210 h 423"/>
                <a:gd name="T38" fmla="*/ 251 w 315"/>
                <a:gd name="T39" fmla="*/ 387 h 423"/>
                <a:gd name="T40" fmla="*/ 161 w 315"/>
                <a:gd name="T41" fmla="*/ 418 h 423"/>
                <a:gd name="T42" fmla="*/ 28 w 315"/>
                <a:gd name="T43" fmla="*/ 400 h 423"/>
                <a:gd name="T44" fmla="*/ 18 w 315"/>
                <a:gd name="T45" fmla="*/ 395 h 4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5" h="423">
                  <a:moveTo>
                    <a:pt x="18" y="395"/>
                  </a:moveTo>
                  <a:cubicBezTo>
                    <a:pt x="25" y="369"/>
                    <a:pt x="31" y="344"/>
                    <a:pt x="36" y="321"/>
                  </a:cubicBezTo>
                  <a:cubicBezTo>
                    <a:pt x="54" y="326"/>
                    <a:pt x="72" y="334"/>
                    <a:pt x="90" y="336"/>
                  </a:cubicBezTo>
                  <a:cubicBezTo>
                    <a:pt x="115" y="344"/>
                    <a:pt x="141" y="346"/>
                    <a:pt x="166" y="341"/>
                  </a:cubicBezTo>
                  <a:cubicBezTo>
                    <a:pt x="192" y="334"/>
                    <a:pt x="205" y="318"/>
                    <a:pt x="202" y="295"/>
                  </a:cubicBezTo>
                  <a:cubicBezTo>
                    <a:pt x="202" y="282"/>
                    <a:pt x="195" y="272"/>
                    <a:pt x="182" y="267"/>
                  </a:cubicBezTo>
                  <a:cubicBezTo>
                    <a:pt x="169" y="257"/>
                    <a:pt x="154" y="251"/>
                    <a:pt x="138" y="244"/>
                  </a:cubicBezTo>
                  <a:cubicBezTo>
                    <a:pt x="115" y="234"/>
                    <a:pt x="95" y="226"/>
                    <a:pt x="74" y="213"/>
                  </a:cubicBezTo>
                  <a:cubicBezTo>
                    <a:pt x="0" y="164"/>
                    <a:pt x="13" y="64"/>
                    <a:pt x="79" y="23"/>
                  </a:cubicBezTo>
                  <a:cubicBezTo>
                    <a:pt x="107" y="8"/>
                    <a:pt x="138" y="0"/>
                    <a:pt x="169" y="0"/>
                  </a:cubicBezTo>
                  <a:cubicBezTo>
                    <a:pt x="205" y="0"/>
                    <a:pt x="241" y="3"/>
                    <a:pt x="274" y="18"/>
                  </a:cubicBezTo>
                  <a:cubicBezTo>
                    <a:pt x="277" y="18"/>
                    <a:pt x="279" y="21"/>
                    <a:pt x="282" y="21"/>
                  </a:cubicBezTo>
                  <a:cubicBezTo>
                    <a:pt x="274" y="46"/>
                    <a:pt x="269" y="69"/>
                    <a:pt x="261" y="95"/>
                  </a:cubicBezTo>
                  <a:cubicBezTo>
                    <a:pt x="246" y="90"/>
                    <a:pt x="233" y="85"/>
                    <a:pt x="218" y="82"/>
                  </a:cubicBezTo>
                  <a:cubicBezTo>
                    <a:pt x="195" y="75"/>
                    <a:pt x="172" y="75"/>
                    <a:pt x="148" y="80"/>
                  </a:cubicBezTo>
                  <a:cubicBezTo>
                    <a:pt x="125" y="87"/>
                    <a:pt x="110" y="105"/>
                    <a:pt x="120" y="126"/>
                  </a:cubicBezTo>
                  <a:cubicBezTo>
                    <a:pt x="123" y="134"/>
                    <a:pt x="133" y="144"/>
                    <a:pt x="141" y="149"/>
                  </a:cubicBezTo>
                  <a:cubicBezTo>
                    <a:pt x="159" y="159"/>
                    <a:pt x="179" y="167"/>
                    <a:pt x="197" y="175"/>
                  </a:cubicBezTo>
                  <a:cubicBezTo>
                    <a:pt x="220" y="182"/>
                    <a:pt x="243" y="195"/>
                    <a:pt x="261" y="210"/>
                  </a:cubicBezTo>
                  <a:cubicBezTo>
                    <a:pt x="315" y="257"/>
                    <a:pt x="310" y="344"/>
                    <a:pt x="251" y="387"/>
                  </a:cubicBezTo>
                  <a:cubicBezTo>
                    <a:pt x="225" y="408"/>
                    <a:pt x="195" y="416"/>
                    <a:pt x="161" y="418"/>
                  </a:cubicBezTo>
                  <a:cubicBezTo>
                    <a:pt x="115" y="423"/>
                    <a:pt x="72" y="418"/>
                    <a:pt x="28" y="400"/>
                  </a:cubicBezTo>
                  <a:cubicBezTo>
                    <a:pt x="25" y="398"/>
                    <a:pt x="23" y="398"/>
                    <a:pt x="18" y="395"/>
                  </a:cubicBezTo>
                  <a:close/>
                </a:path>
              </a:pathLst>
            </a:custGeom>
            <a:solidFill>
              <a:srgbClr val="22419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0" name="Freeform 19"/>
            <p:cNvSpPr>
              <a:spLocks/>
            </p:cNvSpPr>
            <p:nvPr/>
          </p:nvSpPr>
          <p:spPr bwMode="auto">
            <a:xfrm>
              <a:off x="456" y="3875"/>
              <a:ext cx="19" cy="82"/>
            </a:xfrm>
            <a:custGeom>
              <a:avLst/>
              <a:gdLst>
                <a:gd name="T0" fmla="*/ 110 w 110"/>
                <a:gd name="T1" fmla="*/ 0 h 492"/>
                <a:gd name="T2" fmla="*/ 110 w 110"/>
                <a:gd name="T3" fmla="*/ 492 h 492"/>
                <a:gd name="T4" fmla="*/ 0 w 110"/>
                <a:gd name="T5" fmla="*/ 492 h 492"/>
                <a:gd name="T6" fmla="*/ 0 w 110"/>
                <a:gd name="T7" fmla="*/ 0 h 492"/>
                <a:gd name="T8" fmla="*/ 110 w 110"/>
                <a:gd name="T9" fmla="*/ 0 h 4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0" h="492">
                  <a:moveTo>
                    <a:pt x="110" y="0"/>
                  </a:moveTo>
                  <a:cubicBezTo>
                    <a:pt x="110" y="166"/>
                    <a:pt x="110" y="328"/>
                    <a:pt x="110" y="492"/>
                  </a:cubicBezTo>
                  <a:cubicBezTo>
                    <a:pt x="74" y="492"/>
                    <a:pt x="36" y="492"/>
                    <a:pt x="0" y="492"/>
                  </a:cubicBezTo>
                  <a:cubicBezTo>
                    <a:pt x="0" y="328"/>
                    <a:pt x="0" y="164"/>
                    <a:pt x="0" y="0"/>
                  </a:cubicBezTo>
                  <a:cubicBezTo>
                    <a:pt x="36" y="0"/>
                    <a:pt x="74" y="0"/>
                    <a:pt x="110" y="0"/>
                  </a:cubicBezTo>
                  <a:close/>
                </a:path>
              </a:pathLst>
            </a:custGeom>
            <a:solidFill>
              <a:srgbClr val="EC1D2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1" name="Freeform 20"/>
            <p:cNvSpPr>
              <a:spLocks/>
            </p:cNvSpPr>
            <p:nvPr/>
          </p:nvSpPr>
          <p:spPr bwMode="auto">
            <a:xfrm>
              <a:off x="323" y="3971"/>
              <a:ext cx="35" cy="69"/>
            </a:xfrm>
            <a:custGeom>
              <a:avLst/>
              <a:gdLst>
                <a:gd name="T0" fmla="*/ 0 w 212"/>
                <a:gd name="T1" fmla="*/ 402 h 415"/>
                <a:gd name="T2" fmla="*/ 10 w 212"/>
                <a:gd name="T3" fmla="*/ 331 h 415"/>
                <a:gd name="T4" fmla="*/ 61 w 212"/>
                <a:gd name="T5" fmla="*/ 336 h 415"/>
                <a:gd name="T6" fmla="*/ 117 w 212"/>
                <a:gd name="T7" fmla="*/ 285 h 415"/>
                <a:gd name="T8" fmla="*/ 120 w 212"/>
                <a:gd name="T9" fmla="*/ 249 h 415"/>
                <a:gd name="T10" fmla="*/ 120 w 212"/>
                <a:gd name="T11" fmla="*/ 13 h 415"/>
                <a:gd name="T12" fmla="*/ 120 w 212"/>
                <a:gd name="T13" fmla="*/ 0 h 415"/>
                <a:gd name="T14" fmla="*/ 212 w 212"/>
                <a:gd name="T15" fmla="*/ 0 h 415"/>
                <a:gd name="T16" fmla="*/ 212 w 212"/>
                <a:gd name="T17" fmla="*/ 10 h 415"/>
                <a:gd name="T18" fmla="*/ 212 w 212"/>
                <a:gd name="T19" fmla="*/ 261 h 415"/>
                <a:gd name="T20" fmla="*/ 202 w 212"/>
                <a:gd name="T21" fmla="*/ 331 h 415"/>
                <a:gd name="T22" fmla="*/ 123 w 212"/>
                <a:gd name="T23" fmla="*/ 405 h 415"/>
                <a:gd name="T24" fmla="*/ 0 w 212"/>
                <a:gd name="T25" fmla="*/ 402 h 4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12" h="415">
                  <a:moveTo>
                    <a:pt x="0" y="402"/>
                  </a:moveTo>
                  <a:cubicBezTo>
                    <a:pt x="5" y="377"/>
                    <a:pt x="7" y="354"/>
                    <a:pt x="10" y="331"/>
                  </a:cubicBezTo>
                  <a:cubicBezTo>
                    <a:pt x="28" y="331"/>
                    <a:pt x="43" y="333"/>
                    <a:pt x="61" y="336"/>
                  </a:cubicBezTo>
                  <a:cubicBezTo>
                    <a:pt x="94" y="336"/>
                    <a:pt x="112" y="318"/>
                    <a:pt x="117" y="285"/>
                  </a:cubicBezTo>
                  <a:cubicBezTo>
                    <a:pt x="120" y="272"/>
                    <a:pt x="120" y="259"/>
                    <a:pt x="120" y="249"/>
                  </a:cubicBezTo>
                  <a:cubicBezTo>
                    <a:pt x="120" y="169"/>
                    <a:pt x="120" y="90"/>
                    <a:pt x="120" y="13"/>
                  </a:cubicBezTo>
                  <a:cubicBezTo>
                    <a:pt x="120" y="8"/>
                    <a:pt x="120" y="5"/>
                    <a:pt x="120" y="0"/>
                  </a:cubicBezTo>
                  <a:cubicBezTo>
                    <a:pt x="151" y="0"/>
                    <a:pt x="182" y="0"/>
                    <a:pt x="212" y="0"/>
                  </a:cubicBezTo>
                  <a:cubicBezTo>
                    <a:pt x="212" y="3"/>
                    <a:pt x="212" y="8"/>
                    <a:pt x="212" y="10"/>
                  </a:cubicBezTo>
                  <a:cubicBezTo>
                    <a:pt x="212" y="95"/>
                    <a:pt x="212" y="177"/>
                    <a:pt x="212" y="261"/>
                  </a:cubicBezTo>
                  <a:cubicBezTo>
                    <a:pt x="212" y="285"/>
                    <a:pt x="207" y="308"/>
                    <a:pt x="202" y="331"/>
                  </a:cubicBezTo>
                  <a:cubicBezTo>
                    <a:pt x="189" y="369"/>
                    <a:pt x="164" y="395"/>
                    <a:pt x="123" y="405"/>
                  </a:cubicBezTo>
                  <a:cubicBezTo>
                    <a:pt x="82" y="415"/>
                    <a:pt x="43" y="413"/>
                    <a:pt x="0" y="402"/>
                  </a:cubicBezTo>
                  <a:close/>
                </a:path>
              </a:pathLst>
            </a:custGeom>
            <a:solidFill>
              <a:srgbClr val="22419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2" name="Freeform 21"/>
            <p:cNvSpPr>
              <a:spLocks/>
            </p:cNvSpPr>
            <p:nvPr/>
          </p:nvSpPr>
          <p:spPr bwMode="auto">
            <a:xfrm>
              <a:off x="554" y="3820"/>
              <a:ext cx="28" cy="36"/>
            </a:xfrm>
            <a:custGeom>
              <a:avLst/>
              <a:gdLst>
                <a:gd name="T0" fmla="*/ 36 w 169"/>
                <a:gd name="T1" fmla="*/ 56 h 218"/>
                <a:gd name="T2" fmla="*/ 36 w 169"/>
                <a:gd name="T3" fmla="*/ 218 h 218"/>
                <a:gd name="T4" fmla="*/ 0 w 169"/>
                <a:gd name="T5" fmla="*/ 218 h 218"/>
                <a:gd name="T6" fmla="*/ 0 w 169"/>
                <a:gd name="T7" fmla="*/ 0 h 218"/>
                <a:gd name="T8" fmla="*/ 41 w 169"/>
                <a:gd name="T9" fmla="*/ 0 h 218"/>
                <a:gd name="T10" fmla="*/ 49 w 169"/>
                <a:gd name="T11" fmla="*/ 8 h 218"/>
                <a:gd name="T12" fmla="*/ 133 w 169"/>
                <a:gd name="T13" fmla="*/ 156 h 218"/>
                <a:gd name="T14" fmla="*/ 133 w 169"/>
                <a:gd name="T15" fmla="*/ 156 h 218"/>
                <a:gd name="T16" fmla="*/ 133 w 169"/>
                <a:gd name="T17" fmla="*/ 3 h 218"/>
                <a:gd name="T18" fmla="*/ 169 w 169"/>
                <a:gd name="T19" fmla="*/ 3 h 218"/>
                <a:gd name="T20" fmla="*/ 169 w 169"/>
                <a:gd name="T21" fmla="*/ 218 h 218"/>
                <a:gd name="T22" fmla="*/ 133 w 169"/>
                <a:gd name="T23" fmla="*/ 218 h 218"/>
                <a:gd name="T24" fmla="*/ 126 w 169"/>
                <a:gd name="T25" fmla="*/ 210 h 218"/>
                <a:gd name="T26" fmla="*/ 36 w 169"/>
                <a:gd name="T27" fmla="*/ 56 h 2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69" h="218">
                  <a:moveTo>
                    <a:pt x="36" y="56"/>
                  </a:moveTo>
                  <a:cubicBezTo>
                    <a:pt x="36" y="108"/>
                    <a:pt x="36" y="162"/>
                    <a:pt x="36" y="218"/>
                  </a:cubicBezTo>
                  <a:cubicBezTo>
                    <a:pt x="23" y="218"/>
                    <a:pt x="13" y="218"/>
                    <a:pt x="0" y="218"/>
                  </a:cubicBezTo>
                  <a:cubicBezTo>
                    <a:pt x="0" y="146"/>
                    <a:pt x="0" y="74"/>
                    <a:pt x="0" y="0"/>
                  </a:cubicBezTo>
                  <a:cubicBezTo>
                    <a:pt x="13" y="0"/>
                    <a:pt x="28" y="0"/>
                    <a:pt x="41" y="0"/>
                  </a:cubicBezTo>
                  <a:cubicBezTo>
                    <a:pt x="44" y="3"/>
                    <a:pt x="46" y="5"/>
                    <a:pt x="49" y="8"/>
                  </a:cubicBezTo>
                  <a:cubicBezTo>
                    <a:pt x="77" y="59"/>
                    <a:pt x="105" y="108"/>
                    <a:pt x="133" y="156"/>
                  </a:cubicBezTo>
                  <a:cubicBezTo>
                    <a:pt x="133" y="156"/>
                    <a:pt x="133" y="156"/>
                    <a:pt x="133" y="156"/>
                  </a:cubicBezTo>
                  <a:cubicBezTo>
                    <a:pt x="133" y="105"/>
                    <a:pt x="133" y="54"/>
                    <a:pt x="133" y="3"/>
                  </a:cubicBezTo>
                  <a:cubicBezTo>
                    <a:pt x="146" y="3"/>
                    <a:pt x="157" y="3"/>
                    <a:pt x="169" y="3"/>
                  </a:cubicBezTo>
                  <a:cubicBezTo>
                    <a:pt x="169" y="72"/>
                    <a:pt x="169" y="144"/>
                    <a:pt x="169" y="218"/>
                  </a:cubicBezTo>
                  <a:cubicBezTo>
                    <a:pt x="157" y="218"/>
                    <a:pt x="146" y="218"/>
                    <a:pt x="133" y="218"/>
                  </a:cubicBezTo>
                  <a:cubicBezTo>
                    <a:pt x="131" y="218"/>
                    <a:pt x="126" y="213"/>
                    <a:pt x="126" y="210"/>
                  </a:cubicBezTo>
                  <a:cubicBezTo>
                    <a:pt x="95" y="159"/>
                    <a:pt x="64" y="108"/>
                    <a:pt x="36" y="56"/>
                  </a:cubicBezTo>
                  <a:close/>
                </a:path>
              </a:pathLst>
            </a:custGeom>
            <a:solidFill>
              <a:srgbClr val="22419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3" name="Freeform 22"/>
            <p:cNvSpPr>
              <a:spLocks/>
            </p:cNvSpPr>
            <p:nvPr/>
          </p:nvSpPr>
          <p:spPr bwMode="auto">
            <a:xfrm>
              <a:off x="448" y="3820"/>
              <a:ext cx="28" cy="36"/>
            </a:xfrm>
            <a:custGeom>
              <a:avLst/>
              <a:gdLst>
                <a:gd name="T0" fmla="*/ 33 w 169"/>
                <a:gd name="T1" fmla="*/ 218 h 218"/>
                <a:gd name="T2" fmla="*/ 0 w 169"/>
                <a:gd name="T3" fmla="*/ 218 h 218"/>
                <a:gd name="T4" fmla="*/ 0 w 169"/>
                <a:gd name="T5" fmla="*/ 0 h 218"/>
                <a:gd name="T6" fmla="*/ 41 w 169"/>
                <a:gd name="T7" fmla="*/ 0 h 218"/>
                <a:gd name="T8" fmla="*/ 48 w 169"/>
                <a:gd name="T9" fmla="*/ 8 h 218"/>
                <a:gd name="T10" fmla="*/ 133 w 169"/>
                <a:gd name="T11" fmla="*/ 154 h 218"/>
                <a:gd name="T12" fmla="*/ 133 w 169"/>
                <a:gd name="T13" fmla="*/ 3 h 218"/>
                <a:gd name="T14" fmla="*/ 169 w 169"/>
                <a:gd name="T15" fmla="*/ 3 h 218"/>
                <a:gd name="T16" fmla="*/ 169 w 169"/>
                <a:gd name="T17" fmla="*/ 218 h 218"/>
                <a:gd name="T18" fmla="*/ 130 w 169"/>
                <a:gd name="T19" fmla="*/ 218 h 218"/>
                <a:gd name="T20" fmla="*/ 125 w 169"/>
                <a:gd name="T21" fmla="*/ 210 h 218"/>
                <a:gd name="T22" fmla="*/ 33 w 169"/>
                <a:gd name="T23" fmla="*/ 56 h 218"/>
                <a:gd name="T24" fmla="*/ 33 w 169"/>
                <a:gd name="T25" fmla="*/ 218 h 2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69" h="218">
                  <a:moveTo>
                    <a:pt x="33" y="218"/>
                  </a:moveTo>
                  <a:cubicBezTo>
                    <a:pt x="23" y="218"/>
                    <a:pt x="10" y="218"/>
                    <a:pt x="0" y="218"/>
                  </a:cubicBezTo>
                  <a:cubicBezTo>
                    <a:pt x="0" y="146"/>
                    <a:pt x="0" y="74"/>
                    <a:pt x="0" y="0"/>
                  </a:cubicBezTo>
                  <a:cubicBezTo>
                    <a:pt x="13" y="0"/>
                    <a:pt x="25" y="0"/>
                    <a:pt x="41" y="0"/>
                  </a:cubicBezTo>
                  <a:cubicBezTo>
                    <a:pt x="43" y="3"/>
                    <a:pt x="46" y="5"/>
                    <a:pt x="48" y="8"/>
                  </a:cubicBezTo>
                  <a:cubicBezTo>
                    <a:pt x="77" y="59"/>
                    <a:pt x="107" y="108"/>
                    <a:pt x="133" y="154"/>
                  </a:cubicBezTo>
                  <a:cubicBezTo>
                    <a:pt x="133" y="108"/>
                    <a:pt x="133" y="54"/>
                    <a:pt x="133" y="3"/>
                  </a:cubicBezTo>
                  <a:cubicBezTo>
                    <a:pt x="146" y="3"/>
                    <a:pt x="156" y="3"/>
                    <a:pt x="169" y="3"/>
                  </a:cubicBezTo>
                  <a:cubicBezTo>
                    <a:pt x="169" y="74"/>
                    <a:pt x="169" y="144"/>
                    <a:pt x="169" y="218"/>
                  </a:cubicBezTo>
                  <a:cubicBezTo>
                    <a:pt x="156" y="218"/>
                    <a:pt x="143" y="218"/>
                    <a:pt x="130" y="218"/>
                  </a:cubicBezTo>
                  <a:cubicBezTo>
                    <a:pt x="128" y="218"/>
                    <a:pt x="125" y="213"/>
                    <a:pt x="125" y="210"/>
                  </a:cubicBezTo>
                  <a:cubicBezTo>
                    <a:pt x="95" y="159"/>
                    <a:pt x="64" y="105"/>
                    <a:pt x="33" y="56"/>
                  </a:cubicBezTo>
                  <a:cubicBezTo>
                    <a:pt x="33" y="108"/>
                    <a:pt x="33" y="162"/>
                    <a:pt x="33" y="218"/>
                  </a:cubicBezTo>
                  <a:close/>
                </a:path>
              </a:pathLst>
            </a:custGeom>
            <a:solidFill>
              <a:srgbClr val="22419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4" name="Freeform 23"/>
            <p:cNvSpPr>
              <a:spLocks/>
            </p:cNvSpPr>
            <p:nvPr/>
          </p:nvSpPr>
          <p:spPr bwMode="auto">
            <a:xfrm>
              <a:off x="286" y="3820"/>
              <a:ext cx="28" cy="36"/>
            </a:xfrm>
            <a:custGeom>
              <a:avLst/>
              <a:gdLst>
                <a:gd name="T0" fmla="*/ 134 w 170"/>
                <a:gd name="T1" fmla="*/ 154 h 218"/>
                <a:gd name="T2" fmla="*/ 134 w 170"/>
                <a:gd name="T3" fmla="*/ 3 h 218"/>
                <a:gd name="T4" fmla="*/ 170 w 170"/>
                <a:gd name="T5" fmla="*/ 3 h 218"/>
                <a:gd name="T6" fmla="*/ 170 w 170"/>
                <a:gd name="T7" fmla="*/ 218 h 218"/>
                <a:gd name="T8" fmla="*/ 131 w 170"/>
                <a:gd name="T9" fmla="*/ 218 h 218"/>
                <a:gd name="T10" fmla="*/ 123 w 170"/>
                <a:gd name="T11" fmla="*/ 208 h 218"/>
                <a:gd name="T12" fmla="*/ 36 w 170"/>
                <a:gd name="T13" fmla="*/ 56 h 218"/>
                <a:gd name="T14" fmla="*/ 36 w 170"/>
                <a:gd name="T15" fmla="*/ 218 h 218"/>
                <a:gd name="T16" fmla="*/ 0 w 170"/>
                <a:gd name="T17" fmla="*/ 218 h 218"/>
                <a:gd name="T18" fmla="*/ 0 w 170"/>
                <a:gd name="T19" fmla="*/ 0 h 218"/>
                <a:gd name="T20" fmla="*/ 41 w 170"/>
                <a:gd name="T21" fmla="*/ 3 h 218"/>
                <a:gd name="T22" fmla="*/ 49 w 170"/>
                <a:gd name="T23" fmla="*/ 10 h 218"/>
                <a:gd name="T24" fmla="*/ 134 w 170"/>
                <a:gd name="T25" fmla="*/ 154 h 2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70" h="218">
                  <a:moveTo>
                    <a:pt x="134" y="154"/>
                  </a:moveTo>
                  <a:cubicBezTo>
                    <a:pt x="134" y="108"/>
                    <a:pt x="134" y="54"/>
                    <a:pt x="134" y="3"/>
                  </a:cubicBezTo>
                  <a:cubicBezTo>
                    <a:pt x="146" y="3"/>
                    <a:pt x="157" y="3"/>
                    <a:pt x="170" y="3"/>
                  </a:cubicBezTo>
                  <a:cubicBezTo>
                    <a:pt x="170" y="74"/>
                    <a:pt x="170" y="144"/>
                    <a:pt x="170" y="218"/>
                  </a:cubicBezTo>
                  <a:cubicBezTo>
                    <a:pt x="157" y="218"/>
                    <a:pt x="144" y="218"/>
                    <a:pt x="131" y="218"/>
                  </a:cubicBezTo>
                  <a:cubicBezTo>
                    <a:pt x="129" y="218"/>
                    <a:pt x="126" y="213"/>
                    <a:pt x="123" y="208"/>
                  </a:cubicBezTo>
                  <a:cubicBezTo>
                    <a:pt x="93" y="159"/>
                    <a:pt x="64" y="108"/>
                    <a:pt x="36" y="56"/>
                  </a:cubicBezTo>
                  <a:cubicBezTo>
                    <a:pt x="36" y="108"/>
                    <a:pt x="36" y="162"/>
                    <a:pt x="36" y="218"/>
                  </a:cubicBezTo>
                  <a:cubicBezTo>
                    <a:pt x="23" y="218"/>
                    <a:pt x="11" y="218"/>
                    <a:pt x="0" y="218"/>
                  </a:cubicBezTo>
                  <a:cubicBezTo>
                    <a:pt x="0" y="146"/>
                    <a:pt x="0" y="74"/>
                    <a:pt x="0" y="0"/>
                  </a:cubicBezTo>
                  <a:cubicBezTo>
                    <a:pt x="13" y="0"/>
                    <a:pt x="26" y="0"/>
                    <a:pt x="41" y="3"/>
                  </a:cubicBezTo>
                  <a:cubicBezTo>
                    <a:pt x="44" y="3"/>
                    <a:pt x="47" y="5"/>
                    <a:pt x="49" y="10"/>
                  </a:cubicBezTo>
                  <a:cubicBezTo>
                    <a:pt x="77" y="59"/>
                    <a:pt x="108" y="108"/>
                    <a:pt x="134" y="154"/>
                  </a:cubicBezTo>
                  <a:close/>
                </a:path>
              </a:pathLst>
            </a:custGeom>
            <a:solidFill>
              <a:srgbClr val="22419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5" name="Freeform 24"/>
            <p:cNvSpPr>
              <a:spLocks/>
            </p:cNvSpPr>
            <p:nvPr/>
          </p:nvSpPr>
          <p:spPr bwMode="auto">
            <a:xfrm>
              <a:off x="480" y="3818"/>
              <a:ext cx="32" cy="39"/>
            </a:xfrm>
            <a:custGeom>
              <a:avLst/>
              <a:gdLst>
                <a:gd name="T0" fmla="*/ 184 w 192"/>
                <a:gd name="T1" fmla="*/ 16 h 231"/>
                <a:gd name="T2" fmla="*/ 176 w 192"/>
                <a:gd name="T3" fmla="*/ 49 h 231"/>
                <a:gd name="T4" fmla="*/ 107 w 192"/>
                <a:gd name="T5" fmla="*/ 41 h 231"/>
                <a:gd name="T6" fmla="*/ 51 w 192"/>
                <a:gd name="T7" fmla="*/ 103 h 231"/>
                <a:gd name="T8" fmla="*/ 82 w 192"/>
                <a:gd name="T9" fmla="*/ 185 h 231"/>
                <a:gd name="T10" fmla="*/ 146 w 192"/>
                <a:gd name="T11" fmla="*/ 193 h 231"/>
                <a:gd name="T12" fmla="*/ 153 w 192"/>
                <a:gd name="T13" fmla="*/ 185 h 231"/>
                <a:gd name="T14" fmla="*/ 153 w 192"/>
                <a:gd name="T15" fmla="*/ 139 h 231"/>
                <a:gd name="T16" fmla="*/ 115 w 192"/>
                <a:gd name="T17" fmla="*/ 139 h 231"/>
                <a:gd name="T18" fmla="*/ 115 w 192"/>
                <a:gd name="T19" fmla="*/ 105 h 231"/>
                <a:gd name="T20" fmla="*/ 125 w 192"/>
                <a:gd name="T21" fmla="*/ 105 h 231"/>
                <a:gd name="T22" fmla="*/ 192 w 192"/>
                <a:gd name="T23" fmla="*/ 105 h 231"/>
                <a:gd name="T24" fmla="*/ 192 w 192"/>
                <a:gd name="T25" fmla="*/ 113 h 231"/>
                <a:gd name="T26" fmla="*/ 192 w 192"/>
                <a:gd name="T27" fmla="*/ 205 h 231"/>
                <a:gd name="T28" fmla="*/ 184 w 192"/>
                <a:gd name="T29" fmla="*/ 218 h 231"/>
                <a:gd name="T30" fmla="*/ 84 w 192"/>
                <a:gd name="T31" fmla="*/ 223 h 231"/>
                <a:gd name="T32" fmla="*/ 7 w 192"/>
                <a:gd name="T33" fmla="*/ 139 h 231"/>
                <a:gd name="T34" fmla="*/ 61 w 192"/>
                <a:gd name="T35" fmla="*/ 23 h 231"/>
                <a:gd name="T36" fmla="*/ 184 w 192"/>
                <a:gd name="T37" fmla="*/ 16 h 2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92" h="231">
                  <a:moveTo>
                    <a:pt x="184" y="16"/>
                  </a:moveTo>
                  <a:cubicBezTo>
                    <a:pt x="182" y="29"/>
                    <a:pt x="179" y="39"/>
                    <a:pt x="176" y="49"/>
                  </a:cubicBezTo>
                  <a:cubicBezTo>
                    <a:pt x="153" y="41"/>
                    <a:pt x="130" y="39"/>
                    <a:pt x="107" y="41"/>
                  </a:cubicBezTo>
                  <a:cubicBezTo>
                    <a:pt x="74" y="49"/>
                    <a:pt x="53" y="70"/>
                    <a:pt x="51" y="103"/>
                  </a:cubicBezTo>
                  <a:cubicBezTo>
                    <a:pt x="46" y="136"/>
                    <a:pt x="51" y="164"/>
                    <a:pt x="82" y="185"/>
                  </a:cubicBezTo>
                  <a:cubicBezTo>
                    <a:pt x="102" y="198"/>
                    <a:pt x="125" y="198"/>
                    <a:pt x="146" y="193"/>
                  </a:cubicBezTo>
                  <a:cubicBezTo>
                    <a:pt x="148" y="193"/>
                    <a:pt x="153" y="188"/>
                    <a:pt x="153" y="185"/>
                  </a:cubicBezTo>
                  <a:cubicBezTo>
                    <a:pt x="153" y="170"/>
                    <a:pt x="153" y="154"/>
                    <a:pt x="153" y="139"/>
                  </a:cubicBezTo>
                  <a:cubicBezTo>
                    <a:pt x="141" y="139"/>
                    <a:pt x="128" y="139"/>
                    <a:pt x="115" y="139"/>
                  </a:cubicBezTo>
                  <a:cubicBezTo>
                    <a:pt x="115" y="126"/>
                    <a:pt x="115" y="116"/>
                    <a:pt x="115" y="105"/>
                  </a:cubicBezTo>
                  <a:cubicBezTo>
                    <a:pt x="120" y="105"/>
                    <a:pt x="123" y="105"/>
                    <a:pt x="125" y="105"/>
                  </a:cubicBezTo>
                  <a:cubicBezTo>
                    <a:pt x="148" y="105"/>
                    <a:pt x="169" y="105"/>
                    <a:pt x="192" y="105"/>
                  </a:cubicBezTo>
                  <a:cubicBezTo>
                    <a:pt x="192" y="108"/>
                    <a:pt x="192" y="111"/>
                    <a:pt x="192" y="113"/>
                  </a:cubicBezTo>
                  <a:cubicBezTo>
                    <a:pt x="192" y="144"/>
                    <a:pt x="192" y="175"/>
                    <a:pt x="192" y="205"/>
                  </a:cubicBezTo>
                  <a:cubicBezTo>
                    <a:pt x="192" y="213"/>
                    <a:pt x="192" y="216"/>
                    <a:pt x="184" y="218"/>
                  </a:cubicBezTo>
                  <a:cubicBezTo>
                    <a:pt x="151" y="229"/>
                    <a:pt x="117" y="231"/>
                    <a:pt x="84" y="223"/>
                  </a:cubicBezTo>
                  <a:cubicBezTo>
                    <a:pt x="41" y="213"/>
                    <a:pt x="15" y="185"/>
                    <a:pt x="7" y="139"/>
                  </a:cubicBezTo>
                  <a:cubicBezTo>
                    <a:pt x="0" y="90"/>
                    <a:pt x="20" y="44"/>
                    <a:pt x="61" y="23"/>
                  </a:cubicBezTo>
                  <a:cubicBezTo>
                    <a:pt x="100" y="0"/>
                    <a:pt x="143" y="3"/>
                    <a:pt x="184" y="16"/>
                  </a:cubicBezTo>
                  <a:close/>
                </a:path>
              </a:pathLst>
            </a:custGeom>
            <a:solidFill>
              <a:srgbClr val="22419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6" name="Freeform 25"/>
            <p:cNvSpPr>
              <a:spLocks/>
            </p:cNvSpPr>
            <p:nvPr/>
          </p:nvSpPr>
          <p:spPr bwMode="auto">
            <a:xfrm>
              <a:off x="352" y="3820"/>
              <a:ext cx="22" cy="36"/>
            </a:xfrm>
            <a:custGeom>
              <a:avLst/>
              <a:gdLst>
                <a:gd name="T0" fmla="*/ 0 w 131"/>
                <a:gd name="T1" fmla="*/ 0 h 215"/>
                <a:gd name="T2" fmla="*/ 126 w 131"/>
                <a:gd name="T3" fmla="*/ 0 h 215"/>
                <a:gd name="T4" fmla="*/ 126 w 131"/>
                <a:gd name="T5" fmla="*/ 30 h 215"/>
                <a:gd name="T6" fmla="*/ 41 w 131"/>
                <a:gd name="T7" fmla="*/ 30 h 215"/>
                <a:gd name="T8" fmla="*/ 41 w 131"/>
                <a:gd name="T9" fmla="*/ 87 h 215"/>
                <a:gd name="T10" fmla="*/ 121 w 131"/>
                <a:gd name="T11" fmla="*/ 87 h 215"/>
                <a:gd name="T12" fmla="*/ 121 w 131"/>
                <a:gd name="T13" fmla="*/ 120 h 215"/>
                <a:gd name="T14" fmla="*/ 41 w 131"/>
                <a:gd name="T15" fmla="*/ 120 h 215"/>
                <a:gd name="T16" fmla="*/ 41 w 131"/>
                <a:gd name="T17" fmla="*/ 182 h 215"/>
                <a:gd name="T18" fmla="*/ 131 w 131"/>
                <a:gd name="T19" fmla="*/ 182 h 215"/>
                <a:gd name="T20" fmla="*/ 131 w 131"/>
                <a:gd name="T21" fmla="*/ 215 h 215"/>
                <a:gd name="T22" fmla="*/ 0 w 131"/>
                <a:gd name="T23" fmla="*/ 215 h 215"/>
                <a:gd name="T24" fmla="*/ 0 w 131"/>
                <a:gd name="T25" fmla="*/ 0 h 2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31" h="215">
                  <a:moveTo>
                    <a:pt x="0" y="0"/>
                  </a:moveTo>
                  <a:cubicBezTo>
                    <a:pt x="41" y="0"/>
                    <a:pt x="85" y="0"/>
                    <a:pt x="126" y="0"/>
                  </a:cubicBezTo>
                  <a:cubicBezTo>
                    <a:pt x="126" y="10"/>
                    <a:pt x="126" y="20"/>
                    <a:pt x="126" y="30"/>
                  </a:cubicBezTo>
                  <a:cubicBezTo>
                    <a:pt x="98" y="30"/>
                    <a:pt x="70" y="30"/>
                    <a:pt x="41" y="30"/>
                  </a:cubicBezTo>
                  <a:cubicBezTo>
                    <a:pt x="41" y="48"/>
                    <a:pt x="41" y="66"/>
                    <a:pt x="41" y="87"/>
                  </a:cubicBezTo>
                  <a:cubicBezTo>
                    <a:pt x="67" y="87"/>
                    <a:pt x="93" y="87"/>
                    <a:pt x="121" y="87"/>
                  </a:cubicBezTo>
                  <a:cubicBezTo>
                    <a:pt x="121" y="97"/>
                    <a:pt x="121" y="107"/>
                    <a:pt x="121" y="120"/>
                  </a:cubicBezTo>
                  <a:cubicBezTo>
                    <a:pt x="95" y="120"/>
                    <a:pt x="67" y="120"/>
                    <a:pt x="41" y="120"/>
                  </a:cubicBezTo>
                  <a:cubicBezTo>
                    <a:pt x="41" y="141"/>
                    <a:pt x="41" y="161"/>
                    <a:pt x="41" y="182"/>
                  </a:cubicBezTo>
                  <a:cubicBezTo>
                    <a:pt x="72" y="182"/>
                    <a:pt x="100" y="182"/>
                    <a:pt x="131" y="182"/>
                  </a:cubicBezTo>
                  <a:cubicBezTo>
                    <a:pt x="131" y="192"/>
                    <a:pt x="131" y="202"/>
                    <a:pt x="131" y="215"/>
                  </a:cubicBezTo>
                  <a:cubicBezTo>
                    <a:pt x="88" y="215"/>
                    <a:pt x="44" y="215"/>
                    <a:pt x="0" y="215"/>
                  </a:cubicBezTo>
                  <a:cubicBezTo>
                    <a:pt x="0" y="143"/>
                    <a:pt x="0" y="71"/>
                    <a:pt x="0" y="0"/>
                  </a:cubicBezTo>
                  <a:close/>
                </a:path>
              </a:pathLst>
            </a:custGeom>
            <a:solidFill>
              <a:srgbClr val="22419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7" name="Freeform 26"/>
            <p:cNvSpPr>
              <a:spLocks/>
            </p:cNvSpPr>
            <p:nvPr/>
          </p:nvSpPr>
          <p:spPr bwMode="auto">
            <a:xfrm>
              <a:off x="318" y="3820"/>
              <a:ext cx="31" cy="36"/>
            </a:xfrm>
            <a:custGeom>
              <a:avLst/>
              <a:gdLst>
                <a:gd name="T0" fmla="*/ 94 w 189"/>
                <a:gd name="T1" fmla="*/ 172 h 218"/>
                <a:gd name="T2" fmla="*/ 148 w 189"/>
                <a:gd name="T3" fmla="*/ 0 h 218"/>
                <a:gd name="T4" fmla="*/ 189 w 189"/>
                <a:gd name="T5" fmla="*/ 0 h 218"/>
                <a:gd name="T6" fmla="*/ 174 w 189"/>
                <a:gd name="T7" fmla="*/ 51 h 218"/>
                <a:gd name="T8" fmla="*/ 118 w 189"/>
                <a:gd name="T9" fmla="*/ 210 h 218"/>
                <a:gd name="T10" fmla="*/ 107 w 189"/>
                <a:gd name="T11" fmla="*/ 218 h 218"/>
                <a:gd name="T12" fmla="*/ 97 w 189"/>
                <a:gd name="T13" fmla="*/ 218 h 218"/>
                <a:gd name="T14" fmla="*/ 61 w 189"/>
                <a:gd name="T15" fmla="*/ 192 h 218"/>
                <a:gd name="T16" fmla="*/ 2 w 189"/>
                <a:gd name="T17" fmla="*/ 13 h 218"/>
                <a:gd name="T18" fmla="*/ 0 w 189"/>
                <a:gd name="T19" fmla="*/ 0 h 218"/>
                <a:gd name="T20" fmla="*/ 38 w 189"/>
                <a:gd name="T21" fmla="*/ 3 h 218"/>
                <a:gd name="T22" fmla="*/ 46 w 189"/>
                <a:gd name="T23" fmla="*/ 10 h 218"/>
                <a:gd name="T24" fmla="*/ 92 w 189"/>
                <a:gd name="T25" fmla="*/ 164 h 218"/>
                <a:gd name="T26" fmla="*/ 94 w 189"/>
                <a:gd name="T27" fmla="*/ 172 h 2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89" h="218">
                  <a:moveTo>
                    <a:pt x="94" y="172"/>
                  </a:moveTo>
                  <a:cubicBezTo>
                    <a:pt x="112" y="113"/>
                    <a:pt x="130" y="56"/>
                    <a:pt x="148" y="0"/>
                  </a:cubicBezTo>
                  <a:cubicBezTo>
                    <a:pt x="161" y="0"/>
                    <a:pt x="177" y="0"/>
                    <a:pt x="189" y="0"/>
                  </a:cubicBezTo>
                  <a:cubicBezTo>
                    <a:pt x="184" y="18"/>
                    <a:pt x="179" y="33"/>
                    <a:pt x="174" y="51"/>
                  </a:cubicBezTo>
                  <a:cubicBezTo>
                    <a:pt x="156" y="103"/>
                    <a:pt x="135" y="156"/>
                    <a:pt x="118" y="210"/>
                  </a:cubicBezTo>
                  <a:cubicBezTo>
                    <a:pt x="118" y="215"/>
                    <a:pt x="115" y="218"/>
                    <a:pt x="107" y="218"/>
                  </a:cubicBezTo>
                  <a:cubicBezTo>
                    <a:pt x="105" y="218"/>
                    <a:pt x="102" y="218"/>
                    <a:pt x="97" y="218"/>
                  </a:cubicBezTo>
                  <a:cubicBezTo>
                    <a:pt x="69" y="218"/>
                    <a:pt x="69" y="218"/>
                    <a:pt x="61" y="192"/>
                  </a:cubicBezTo>
                  <a:cubicBezTo>
                    <a:pt x="43" y="131"/>
                    <a:pt x="23" y="72"/>
                    <a:pt x="2" y="13"/>
                  </a:cubicBezTo>
                  <a:cubicBezTo>
                    <a:pt x="2" y="10"/>
                    <a:pt x="2" y="5"/>
                    <a:pt x="0" y="0"/>
                  </a:cubicBezTo>
                  <a:cubicBezTo>
                    <a:pt x="12" y="0"/>
                    <a:pt x="25" y="0"/>
                    <a:pt x="38" y="3"/>
                  </a:cubicBezTo>
                  <a:cubicBezTo>
                    <a:pt x="41" y="3"/>
                    <a:pt x="46" y="5"/>
                    <a:pt x="46" y="10"/>
                  </a:cubicBezTo>
                  <a:cubicBezTo>
                    <a:pt x="61" y="62"/>
                    <a:pt x="77" y="113"/>
                    <a:pt x="92" y="164"/>
                  </a:cubicBezTo>
                  <a:cubicBezTo>
                    <a:pt x="92" y="167"/>
                    <a:pt x="92" y="169"/>
                    <a:pt x="94" y="172"/>
                  </a:cubicBezTo>
                  <a:close/>
                </a:path>
              </a:pathLst>
            </a:custGeom>
            <a:solidFill>
              <a:srgbClr val="22419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8" name="Freeform 27"/>
            <p:cNvSpPr>
              <a:spLocks/>
            </p:cNvSpPr>
            <p:nvPr/>
          </p:nvSpPr>
          <p:spPr bwMode="auto">
            <a:xfrm>
              <a:off x="377" y="3819"/>
              <a:ext cx="25" cy="38"/>
            </a:xfrm>
            <a:custGeom>
              <a:avLst/>
              <a:gdLst>
                <a:gd name="T0" fmla="*/ 5 w 149"/>
                <a:gd name="T1" fmla="*/ 213 h 231"/>
                <a:gd name="T2" fmla="*/ 13 w 149"/>
                <a:gd name="T3" fmla="*/ 182 h 231"/>
                <a:gd name="T4" fmla="*/ 67 w 149"/>
                <a:gd name="T5" fmla="*/ 192 h 231"/>
                <a:gd name="T6" fmla="*/ 80 w 149"/>
                <a:gd name="T7" fmla="*/ 192 h 231"/>
                <a:gd name="T8" fmla="*/ 105 w 149"/>
                <a:gd name="T9" fmla="*/ 169 h 231"/>
                <a:gd name="T10" fmla="*/ 90 w 149"/>
                <a:gd name="T11" fmla="*/ 138 h 231"/>
                <a:gd name="T12" fmla="*/ 64 w 149"/>
                <a:gd name="T13" fmla="*/ 128 h 231"/>
                <a:gd name="T14" fmla="*/ 28 w 149"/>
                <a:gd name="T15" fmla="*/ 105 h 231"/>
                <a:gd name="T16" fmla="*/ 28 w 149"/>
                <a:gd name="T17" fmla="*/ 20 h 231"/>
                <a:gd name="T18" fmla="*/ 110 w 149"/>
                <a:gd name="T19" fmla="*/ 5 h 231"/>
                <a:gd name="T20" fmla="*/ 139 w 149"/>
                <a:gd name="T21" fmla="*/ 13 h 231"/>
                <a:gd name="T22" fmla="*/ 128 w 149"/>
                <a:gd name="T23" fmla="*/ 44 h 231"/>
                <a:gd name="T24" fmla="*/ 82 w 149"/>
                <a:gd name="T25" fmla="*/ 36 h 231"/>
                <a:gd name="T26" fmla="*/ 62 w 149"/>
                <a:gd name="T27" fmla="*/ 41 h 231"/>
                <a:gd name="T28" fmla="*/ 56 w 149"/>
                <a:gd name="T29" fmla="*/ 79 h 231"/>
                <a:gd name="T30" fmla="*/ 87 w 149"/>
                <a:gd name="T31" fmla="*/ 95 h 231"/>
                <a:gd name="T32" fmla="*/ 115 w 149"/>
                <a:gd name="T33" fmla="*/ 108 h 231"/>
                <a:gd name="T34" fmla="*/ 146 w 149"/>
                <a:gd name="T35" fmla="*/ 167 h 231"/>
                <a:gd name="T36" fmla="*/ 110 w 149"/>
                <a:gd name="T37" fmla="*/ 218 h 231"/>
                <a:gd name="T38" fmla="*/ 5 w 149"/>
                <a:gd name="T39" fmla="*/ 213 h 2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49" h="231">
                  <a:moveTo>
                    <a:pt x="5" y="213"/>
                  </a:moveTo>
                  <a:cubicBezTo>
                    <a:pt x="8" y="200"/>
                    <a:pt x="10" y="190"/>
                    <a:pt x="13" y="182"/>
                  </a:cubicBezTo>
                  <a:cubicBezTo>
                    <a:pt x="31" y="185"/>
                    <a:pt x="49" y="190"/>
                    <a:pt x="67" y="192"/>
                  </a:cubicBezTo>
                  <a:cubicBezTo>
                    <a:pt x="72" y="192"/>
                    <a:pt x="74" y="192"/>
                    <a:pt x="80" y="192"/>
                  </a:cubicBezTo>
                  <a:cubicBezTo>
                    <a:pt x="92" y="190"/>
                    <a:pt x="103" y="179"/>
                    <a:pt x="105" y="169"/>
                  </a:cubicBezTo>
                  <a:cubicBezTo>
                    <a:pt x="108" y="156"/>
                    <a:pt x="103" y="146"/>
                    <a:pt x="90" y="138"/>
                  </a:cubicBezTo>
                  <a:cubicBezTo>
                    <a:pt x="82" y="133"/>
                    <a:pt x="72" y="131"/>
                    <a:pt x="64" y="128"/>
                  </a:cubicBezTo>
                  <a:cubicBezTo>
                    <a:pt x="51" y="120"/>
                    <a:pt x="39" y="115"/>
                    <a:pt x="28" y="105"/>
                  </a:cubicBezTo>
                  <a:cubicBezTo>
                    <a:pt x="0" y="85"/>
                    <a:pt x="3" y="44"/>
                    <a:pt x="28" y="20"/>
                  </a:cubicBezTo>
                  <a:cubicBezTo>
                    <a:pt x="54" y="0"/>
                    <a:pt x="82" y="0"/>
                    <a:pt x="110" y="5"/>
                  </a:cubicBezTo>
                  <a:cubicBezTo>
                    <a:pt x="121" y="5"/>
                    <a:pt x="128" y="10"/>
                    <a:pt x="139" y="13"/>
                  </a:cubicBezTo>
                  <a:cubicBezTo>
                    <a:pt x="133" y="26"/>
                    <a:pt x="131" y="36"/>
                    <a:pt x="128" y="44"/>
                  </a:cubicBezTo>
                  <a:cubicBezTo>
                    <a:pt x="113" y="41"/>
                    <a:pt x="97" y="38"/>
                    <a:pt x="82" y="36"/>
                  </a:cubicBezTo>
                  <a:cubicBezTo>
                    <a:pt x="77" y="36"/>
                    <a:pt x="69" y="38"/>
                    <a:pt x="62" y="41"/>
                  </a:cubicBezTo>
                  <a:cubicBezTo>
                    <a:pt x="46" y="49"/>
                    <a:pt x="44" y="69"/>
                    <a:pt x="56" y="79"/>
                  </a:cubicBezTo>
                  <a:cubicBezTo>
                    <a:pt x="67" y="85"/>
                    <a:pt x="77" y="90"/>
                    <a:pt x="87" y="95"/>
                  </a:cubicBezTo>
                  <a:cubicBezTo>
                    <a:pt x="97" y="100"/>
                    <a:pt x="105" y="102"/>
                    <a:pt x="115" y="108"/>
                  </a:cubicBezTo>
                  <a:cubicBezTo>
                    <a:pt x="139" y="120"/>
                    <a:pt x="149" y="141"/>
                    <a:pt x="146" y="167"/>
                  </a:cubicBezTo>
                  <a:cubicBezTo>
                    <a:pt x="144" y="190"/>
                    <a:pt x="131" y="208"/>
                    <a:pt x="110" y="218"/>
                  </a:cubicBezTo>
                  <a:cubicBezTo>
                    <a:pt x="80" y="231"/>
                    <a:pt x="33" y="228"/>
                    <a:pt x="5" y="213"/>
                  </a:cubicBezTo>
                  <a:close/>
                </a:path>
              </a:pathLst>
            </a:custGeom>
            <a:solidFill>
              <a:srgbClr val="22419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9" name="Freeform 28"/>
            <p:cNvSpPr>
              <a:spLocks/>
            </p:cNvSpPr>
            <p:nvPr/>
          </p:nvSpPr>
          <p:spPr bwMode="auto">
            <a:xfrm>
              <a:off x="403" y="3820"/>
              <a:ext cx="27" cy="36"/>
            </a:xfrm>
            <a:custGeom>
              <a:avLst/>
              <a:gdLst>
                <a:gd name="T0" fmla="*/ 103 w 164"/>
                <a:gd name="T1" fmla="*/ 215 h 215"/>
                <a:gd name="T2" fmla="*/ 62 w 164"/>
                <a:gd name="T3" fmla="*/ 215 h 215"/>
                <a:gd name="T4" fmla="*/ 62 w 164"/>
                <a:gd name="T5" fmla="*/ 33 h 215"/>
                <a:gd name="T6" fmla="*/ 0 w 164"/>
                <a:gd name="T7" fmla="*/ 33 h 215"/>
                <a:gd name="T8" fmla="*/ 0 w 164"/>
                <a:gd name="T9" fmla="*/ 0 h 215"/>
                <a:gd name="T10" fmla="*/ 164 w 164"/>
                <a:gd name="T11" fmla="*/ 0 h 215"/>
                <a:gd name="T12" fmla="*/ 164 w 164"/>
                <a:gd name="T13" fmla="*/ 30 h 215"/>
                <a:gd name="T14" fmla="*/ 103 w 164"/>
                <a:gd name="T15" fmla="*/ 30 h 215"/>
                <a:gd name="T16" fmla="*/ 103 w 164"/>
                <a:gd name="T17" fmla="*/ 215 h 2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4" h="215">
                  <a:moveTo>
                    <a:pt x="103" y="215"/>
                  </a:moveTo>
                  <a:cubicBezTo>
                    <a:pt x="87" y="215"/>
                    <a:pt x="74" y="215"/>
                    <a:pt x="62" y="215"/>
                  </a:cubicBezTo>
                  <a:cubicBezTo>
                    <a:pt x="62" y="153"/>
                    <a:pt x="62" y="92"/>
                    <a:pt x="62" y="33"/>
                  </a:cubicBezTo>
                  <a:cubicBezTo>
                    <a:pt x="41" y="33"/>
                    <a:pt x="21" y="33"/>
                    <a:pt x="0" y="33"/>
                  </a:cubicBezTo>
                  <a:cubicBezTo>
                    <a:pt x="0" y="20"/>
                    <a:pt x="0" y="10"/>
                    <a:pt x="0" y="0"/>
                  </a:cubicBezTo>
                  <a:cubicBezTo>
                    <a:pt x="54" y="0"/>
                    <a:pt x="108" y="0"/>
                    <a:pt x="164" y="0"/>
                  </a:cubicBezTo>
                  <a:cubicBezTo>
                    <a:pt x="164" y="10"/>
                    <a:pt x="164" y="20"/>
                    <a:pt x="164" y="30"/>
                  </a:cubicBezTo>
                  <a:cubicBezTo>
                    <a:pt x="144" y="30"/>
                    <a:pt x="123" y="30"/>
                    <a:pt x="103" y="30"/>
                  </a:cubicBezTo>
                  <a:cubicBezTo>
                    <a:pt x="103" y="92"/>
                    <a:pt x="103" y="153"/>
                    <a:pt x="103" y="215"/>
                  </a:cubicBezTo>
                  <a:close/>
                </a:path>
              </a:pathLst>
            </a:custGeom>
            <a:solidFill>
              <a:srgbClr val="22419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0" name="Freeform 29"/>
            <p:cNvSpPr>
              <a:spLocks/>
            </p:cNvSpPr>
            <p:nvPr/>
          </p:nvSpPr>
          <p:spPr bwMode="auto">
            <a:xfrm>
              <a:off x="381" y="4108"/>
              <a:ext cx="30" cy="23"/>
            </a:xfrm>
            <a:custGeom>
              <a:avLst/>
              <a:gdLst>
                <a:gd name="T0" fmla="*/ 185 w 185"/>
                <a:gd name="T1" fmla="*/ 36 h 138"/>
                <a:gd name="T2" fmla="*/ 174 w 185"/>
                <a:gd name="T3" fmla="*/ 51 h 138"/>
                <a:gd name="T4" fmla="*/ 57 w 185"/>
                <a:gd name="T5" fmla="*/ 133 h 138"/>
                <a:gd name="T6" fmla="*/ 39 w 185"/>
                <a:gd name="T7" fmla="*/ 138 h 138"/>
                <a:gd name="T8" fmla="*/ 3 w 185"/>
                <a:gd name="T9" fmla="*/ 84 h 138"/>
                <a:gd name="T10" fmla="*/ 21 w 185"/>
                <a:gd name="T11" fmla="*/ 64 h 138"/>
                <a:gd name="T12" fmla="*/ 141 w 185"/>
                <a:gd name="T13" fmla="*/ 8 h 138"/>
                <a:gd name="T14" fmla="*/ 185 w 185"/>
                <a:gd name="T15" fmla="*/ 36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85" h="138">
                  <a:moveTo>
                    <a:pt x="185" y="36"/>
                  </a:moveTo>
                  <a:cubicBezTo>
                    <a:pt x="182" y="41"/>
                    <a:pt x="180" y="49"/>
                    <a:pt x="174" y="51"/>
                  </a:cubicBezTo>
                  <a:cubicBezTo>
                    <a:pt x="136" y="79"/>
                    <a:pt x="95" y="108"/>
                    <a:pt x="57" y="133"/>
                  </a:cubicBezTo>
                  <a:cubicBezTo>
                    <a:pt x="51" y="138"/>
                    <a:pt x="44" y="138"/>
                    <a:pt x="39" y="138"/>
                  </a:cubicBezTo>
                  <a:cubicBezTo>
                    <a:pt x="16" y="133"/>
                    <a:pt x="0" y="105"/>
                    <a:pt x="3" y="84"/>
                  </a:cubicBezTo>
                  <a:cubicBezTo>
                    <a:pt x="5" y="74"/>
                    <a:pt x="10" y="69"/>
                    <a:pt x="21" y="64"/>
                  </a:cubicBezTo>
                  <a:cubicBezTo>
                    <a:pt x="62" y="46"/>
                    <a:pt x="100" y="28"/>
                    <a:pt x="141" y="8"/>
                  </a:cubicBezTo>
                  <a:cubicBezTo>
                    <a:pt x="162" y="0"/>
                    <a:pt x="182" y="13"/>
                    <a:pt x="185" y="36"/>
                  </a:cubicBezTo>
                  <a:close/>
                </a:path>
              </a:pathLst>
            </a:custGeom>
            <a:solidFill>
              <a:srgbClr val="FBB32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1" name="Freeform 30"/>
            <p:cNvSpPr>
              <a:spLocks/>
            </p:cNvSpPr>
            <p:nvPr/>
          </p:nvSpPr>
          <p:spPr bwMode="auto">
            <a:xfrm>
              <a:off x="435" y="4108"/>
              <a:ext cx="31" cy="23"/>
            </a:xfrm>
            <a:custGeom>
              <a:avLst/>
              <a:gdLst>
                <a:gd name="T0" fmla="*/ 0 w 184"/>
                <a:gd name="T1" fmla="*/ 38 h 141"/>
                <a:gd name="T2" fmla="*/ 43 w 184"/>
                <a:gd name="T3" fmla="*/ 10 h 141"/>
                <a:gd name="T4" fmla="*/ 164 w 184"/>
                <a:gd name="T5" fmla="*/ 64 h 141"/>
                <a:gd name="T6" fmla="*/ 182 w 184"/>
                <a:gd name="T7" fmla="*/ 100 h 141"/>
                <a:gd name="T8" fmla="*/ 166 w 184"/>
                <a:gd name="T9" fmla="*/ 125 h 141"/>
                <a:gd name="T10" fmla="*/ 123 w 184"/>
                <a:gd name="T11" fmla="*/ 131 h 141"/>
                <a:gd name="T12" fmla="*/ 15 w 184"/>
                <a:gd name="T13" fmla="*/ 54 h 141"/>
                <a:gd name="T14" fmla="*/ 0 w 184"/>
                <a:gd name="T15" fmla="*/ 38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84" h="141">
                  <a:moveTo>
                    <a:pt x="0" y="38"/>
                  </a:moveTo>
                  <a:cubicBezTo>
                    <a:pt x="2" y="13"/>
                    <a:pt x="23" y="0"/>
                    <a:pt x="43" y="10"/>
                  </a:cubicBezTo>
                  <a:cubicBezTo>
                    <a:pt x="84" y="28"/>
                    <a:pt x="123" y="46"/>
                    <a:pt x="164" y="64"/>
                  </a:cubicBezTo>
                  <a:cubicBezTo>
                    <a:pt x="179" y="72"/>
                    <a:pt x="184" y="82"/>
                    <a:pt x="182" y="100"/>
                  </a:cubicBezTo>
                  <a:cubicBezTo>
                    <a:pt x="177" y="108"/>
                    <a:pt x="174" y="118"/>
                    <a:pt x="166" y="125"/>
                  </a:cubicBezTo>
                  <a:cubicBezTo>
                    <a:pt x="154" y="141"/>
                    <a:pt x="141" y="141"/>
                    <a:pt x="123" y="131"/>
                  </a:cubicBezTo>
                  <a:cubicBezTo>
                    <a:pt x="87" y="105"/>
                    <a:pt x="51" y="79"/>
                    <a:pt x="15" y="54"/>
                  </a:cubicBezTo>
                  <a:cubicBezTo>
                    <a:pt x="8" y="51"/>
                    <a:pt x="5" y="43"/>
                    <a:pt x="0" y="38"/>
                  </a:cubicBezTo>
                  <a:close/>
                </a:path>
              </a:pathLst>
            </a:custGeom>
            <a:solidFill>
              <a:srgbClr val="FBB32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2" name="Freeform 31"/>
            <p:cNvSpPr>
              <a:spLocks/>
            </p:cNvSpPr>
            <p:nvPr/>
          </p:nvSpPr>
          <p:spPr bwMode="auto">
            <a:xfrm>
              <a:off x="417" y="4119"/>
              <a:ext cx="13" cy="32"/>
            </a:xfrm>
            <a:custGeom>
              <a:avLst/>
              <a:gdLst>
                <a:gd name="T0" fmla="*/ 3 w 80"/>
                <a:gd name="T1" fmla="*/ 159 h 195"/>
                <a:gd name="T2" fmla="*/ 13 w 80"/>
                <a:gd name="T3" fmla="*/ 18 h 195"/>
                <a:gd name="T4" fmla="*/ 41 w 80"/>
                <a:gd name="T5" fmla="*/ 0 h 195"/>
                <a:gd name="T6" fmla="*/ 67 w 80"/>
                <a:gd name="T7" fmla="*/ 18 h 195"/>
                <a:gd name="T8" fmla="*/ 80 w 80"/>
                <a:gd name="T9" fmla="*/ 162 h 195"/>
                <a:gd name="T10" fmla="*/ 67 w 80"/>
                <a:gd name="T11" fmla="*/ 185 h 195"/>
                <a:gd name="T12" fmla="*/ 13 w 80"/>
                <a:gd name="T13" fmla="*/ 185 h 195"/>
                <a:gd name="T14" fmla="*/ 3 w 80"/>
                <a:gd name="T15" fmla="*/ 159 h 1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0" h="195">
                  <a:moveTo>
                    <a:pt x="3" y="159"/>
                  </a:moveTo>
                  <a:cubicBezTo>
                    <a:pt x="5" y="113"/>
                    <a:pt x="10" y="67"/>
                    <a:pt x="13" y="18"/>
                  </a:cubicBezTo>
                  <a:cubicBezTo>
                    <a:pt x="15" y="8"/>
                    <a:pt x="26" y="0"/>
                    <a:pt x="41" y="0"/>
                  </a:cubicBezTo>
                  <a:cubicBezTo>
                    <a:pt x="56" y="0"/>
                    <a:pt x="67" y="8"/>
                    <a:pt x="67" y="18"/>
                  </a:cubicBezTo>
                  <a:cubicBezTo>
                    <a:pt x="72" y="67"/>
                    <a:pt x="74" y="113"/>
                    <a:pt x="80" y="162"/>
                  </a:cubicBezTo>
                  <a:cubicBezTo>
                    <a:pt x="80" y="172"/>
                    <a:pt x="74" y="180"/>
                    <a:pt x="67" y="185"/>
                  </a:cubicBezTo>
                  <a:cubicBezTo>
                    <a:pt x="51" y="195"/>
                    <a:pt x="28" y="195"/>
                    <a:pt x="13" y="185"/>
                  </a:cubicBezTo>
                  <a:cubicBezTo>
                    <a:pt x="5" y="180"/>
                    <a:pt x="0" y="172"/>
                    <a:pt x="3" y="159"/>
                  </a:cubicBezTo>
                  <a:close/>
                </a:path>
              </a:pathLst>
            </a:custGeom>
            <a:solidFill>
              <a:srgbClr val="FBB32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3" name="Freeform 32"/>
            <p:cNvSpPr>
              <a:spLocks/>
            </p:cNvSpPr>
            <p:nvPr/>
          </p:nvSpPr>
          <p:spPr bwMode="auto">
            <a:xfrm>
              <a:off x="417" y="4056"/>
              <a:ext cx="13" cy="32"/>
            </a:xfrm>
            <a:custGeom>
              <a:avLst/>
              <a:gdLst>
                <a:gd name="T0" fmla="*/ 38 w 82"/>
                <a:gd name="T1" fmla="*/ 192 h 192"/>
                <a:gd name="T2" fmla="*/ 13 w 82"/>
                <a:gd name="T3" fmla="*/ 167 h 192"/>
                <a:gd name="T4" fmla="*/ 3 w 82"/>
                <a:gd name="T5" fmla="*/ 36 h 192"/>
                <a:gd name="T6" fmla="*/ 23 w 82"/>
                <a:gd name="T7" fmla="*/ 3 h 192"/>
                <a:gd name="T8" fmla="*/ 54 w 82"/>
                <a:gd name="T9" fmla="*/ 3 h 192"/>
                <a:gd name="T10" fmla="*/ 80 w 82"/>
                <a:gd name="T11" fmla="*/ 39 h 192"/>
                <a:gd name="T12" fmla="*/ 67 w 82"/>
                <a:gd name="T13" fmla="*/ 167 h 192"/>
                <a:gd name="T14" fmla="*/ 38 w 82"/>
                <a:gd name="T15" fmla="*/ 192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2" h="192">
                  <a:moveTo>
                    <a:pt x="38" y="192"/>
                  </a:moveTo>
                  <a:cubicBezTo>
                    <a:pt x="21" y="192"/>
                    <a:pt x="15" y="185"/>
                    <a:pt x="13" y="167"/>
                  </a:cubicBezTo>
                  <a:cubicBezTo>
                    <a:pt x="10" y="123"/>
                    <a:pt x="5" y="80"/>
                    <a:pt x="3" y="36"/>
                  </a:cubicBezTo>
                  <a:cubicBezTo>
                    <a:pt x="0" y="18"/>
                    <a:pt x="5" y="8"/>
                    <a:pt x="23" y="3"/>
                  </a:cubicBezTo>
                  <a:cubicBezTo>
                    <a:pt x="33" y="0"/>
                    <a:pt x="44" y="0"/>
                    <a:pt x="54" y="3"/>
                  </a:cubicBezTo>
                  <a:cubicBezTo>
                    <a:pt x="74" y="5"/>
                    <a:pt x="82" y="18"/>
                    <a:pt x="80" y="39"/>
                  </a:cubicBezTo>
                  <a:cubicBezTo>
                    <a:pt x="74" y="80"/>
                    <a:pt x="72" y="123"/>
                    <a:pt x="67" y="167"/>
                  </a:cubicBezTo>
                  <a:cubicBezTo>
                    <a:pt x="67" y="185"/>
                    <a:pt x="59" y="192"/>
                    <a:pt x="38" y="192"/>
                  </a:cubicBezTo>
                  <a:close/>
                </a:path>
              </a:pathLst>
            </a:custGeom>
            <a:solidFill>
              <a:srgbClr val="FBB32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4" name="Freeform 33"/>
            <p:cNvSpPr>
              <a:spLocks/>
            </p:cNvSpPr>
            <p:nvPr/>
          </p:nvSpPr>
          <p:spPr bwMode="auto">
            <a:xfrm>
              <a:off x="435" y="4075"/>
              <a:ext cx="31" cy="24"/>
            </a:xfrm>
            <a:custGeom>
              <a:avLst/>
              <a:gdLst>
                <a:gd name="T0" fmla="*/ 0 w 187"/>
                <a:gd name="T1" fmla="*/ 103 h 141"/>
                <a:gd name="T2" fmla="*/ 13 w 187"/>
                <a:gd name="T3" fmla="*/ 87 h 141"/>
                <a:gd name="T4" fmla="*/ 128 w 187"/>
                <a:gd name="T5" fmla="*/ 8 h 141"/>
                <a:gd name="T6" fmla="*/ 154 w 187"/>
                <a:gd name="T7" fmla="*/ 5 h 141"/>
                <a:gd name="T8" fmla="*/ 179 w 187"/>
                <a:gd name="T9" fmla="*/ 59 h 141"/>
                <a:gd name="T10" fmla="*/ 169 w 187"/>
                <a:gd name="T11" fmla="*/ 74 h 141"/>
                <a:gd name="T12" fmla="*/ 38 w 187"/>
                <a:gd name="T13" fmla="*/ 133 h 141"/>
                <a:gd name="T14" fmla="*/ 0 w 187"/>
                <a:gd name="T15" fmla="*/ 103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87" h="141">
                  <a:moveTo>
                    <a:pt x="0" y="103"/>
                  </a:moveTo>
                  <a:cubicBezTo>
                    <a:pt x="5" y="97"/>
                    <a:pt x="8" y="92"/>
                    <a:pt x="13" y="87"/>
                  </a:cubicBezTo>
                  <a:cubicBezTo>
                    <a:pt x="51" y="62"/>
                    <a:pt x="90" y="33"/>
                    <a:pt x="128" y="8"/>
                  </a:cubicBezTo>
                  <a:cubicBezTo>
                    <a:pt x="136" y="0"/>
                    <a:pt x="146" y="0"/>
                    <a:pt x="154" y="5"/>
                  </a:cubicBezTo>
                  <a:cubicBezTo>
                    <a:pt x="174" y="15"/>
                    <a:pt x="187" y="41"/>
                    <a:pt x="179" y="59"/>
                  </a:cubicBezTo>
                  <a:cubicBezTo>
                    <a:pt x="179" y="64"/>
                    <a:pt x="174" y="72"/>
                    <a:pt x="169" y="74"/>
                  </a:cubicBezTo>
                  <a:cubicBezTo>
                    <a:pt x="125" y="95"/>
                    <a:pt x="82" y="113"/>
                    <a:pt x="38" y="133"/>
                  </a:cubicBezTo>
                  <a:cubicBezTo>
                    <a:pt x="23" y="141"/>
                    <a:pt x="2" y="126"/>
                    <a:pt x="0" y="103"/>
                  </a:cubicBezTo>
                  <a:close/>
                </a:path>
              </a:pathLst>
            </a:custGeom>
            <a:solidFill>
              <a:srgbClr val="FBB32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5" name="Freeform 34"/>
            <p:cNvSpPr>
              <a:spLocks/>
            </p:cNvSpPr>
            <p:nvPr/>
          </p:nvSpPr>
          <p:spPr bwMode="auto">
            <a:xfrm>
              <a:off x="381" y="4075"/>
              <a:ext cx="30" cy="24"/>
            </a:xfrm>
            <a:custGeom>
              <a:avLst/>
              <a:gdLst>
                <a:gd name="T0" fmla="*/ 185 w 185"/>
                <a:gd name="T1" fmla="*/ 103 h 141"/>
                <a:gd name="T2" fmla="*/ 141 w 185"/>
                <a:gd name="T3" fmla="*/ 131 h 141"/>
                <a:gd name="T4" fmla="*/ 21 w 185"/>
                <a:gd name="T5" fmla="*/ 77 h 141"/>
                <a:gd name="T6" fmla="*/ 5 w 185"/>
                <a:gd name="T7" fmla="*/ 41 h 141"/>
                <a:gd name="T8" fmla="*/ 26 w 185"/>
                <a:gd name="T9" fmla="*/ 8 h 141"/>
                <a:gd name="T10" fmla="*/ 57 w 185"/>
                <a:gd name="T11" fmla="*/ 8 h 141"/>
                <a:gd name="T12" fmla="*/ 172 w 185"/>
                <a:gd name="T13" fmla="*/ 87 h 141"/>
                <a:gd name="T14" fmla="*/ 185 w 185"/>
                <a:gd name="T15" fmla="*/ 103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85" h="141">
                  <a:moveTo>
                    <a:pt x="185" y="103"/>
                  </a:moveTo>
                  <a:cubicBezTo>
                    <a:pt x="182" y="128"/>
                    <a:pt x="162" y="141"/>
                    <a:pt x="141" y="131"/>
                  </a:cubicBezTo>
                  <a:cubicBezTo>
                    <a:pt x="103" y="113"/>
                    <a:pt x="62" y="95"/>
                    <a:pt x="21" y="77"/>
                  </a:cubicBezTo>
                  <a:cubicBezTo>
                    <a:pt x="5" y="69"/>
                    <a:pt x="0" y="59"/>
                    <a:pt x="5" y="41"/>
                  </a:cubicBezTo>
                  <a:cubicBezTo>
                    <a:pt x="8" y="28"/>
                    <a:pt x="16" y="15"/>
                    <a:pt x="26" y="8"/>
                  </a:cubicBezTo>
                  <a:cubicBezTo>
                    <a:pt x="36" y="0"/>
                    <a:pt x="46" y="0"/>
                    <a:pt x="57" y="8"/>
                  </a:cubicBezTo>
                  <a:cubicBezTo>
                    <a:pt x="95" y="33"/>
                    <a:pt x="133" y="62"/>
                    <a:pt x="172" y="87"/>
                  </a:cubicBezTo>
                  <a:cubicBezTo>
                    <a:pt x="177" y="92"/>
                    <a:pt x="180" y="97"/>
                    <a:pt x="185" y="103"/>
                  </a:cubicBezTo>
                  <a:close/>
                </a:path>
              </a:pathLst>
            </a:custGeom>
            <a:solidFill>
              <a:srgbClr val="FBB32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6" name="Freeform 35"/>
            <p:cNvSpPr>
              <a:spLocks/>
            </p:cNvSpPr>
            <p:nvPr/>
          </p:nvSpPr>
          <p:spPr bwMode="auto">
            <a:xfrm>
              <a:off x="434" y="3820"/>
              <a:ext cx="6" cy="36"/>
            </a:xfrm>
            <a:custGeom>
              <a:avLst/>
              <a:gdLst>
                <a:gd name="T0" fmla="*/ 0 w 39"/>
                <a:gd name="T1" fmla="*/ 0 h 218"/>
                <a:gd name="T2" fmla="*/ 39 w 39"/>
                <a:gd name="T3" fmla="*/ 0 h 218"/>
                <a:gd name="T4" fmla="*/ 39 w 39"/>
                <a:gd name="T5" fmla="*/ 218 h 218"/>
                <a:gd name="T6" fmla="*/ 0 w 39"/>
                <a:gd name="T7" fmla="*/ 218 h 218"/>
                <a:gd name="T8" fmla="*/ 0 w 39"/>
                <a:gd name="T9" fmla="*/ 0 h 2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9" h="218">
                  <a:moveTo>
                    <a:pt x="0" y="0"/>
                  </a:moveTo>
                  <a:cubicBezTo>
                    <a:pt x="13" y="0"/>
                    <a:pt x="26" y="0"/>
                    <a:pt x="39" y="0"/>
                  </a:cubicBezTo>
                  <a:cubicBezTo>
                    <a:pt x="39" y="74"/>
                    <a:pt x="39" y="146"/>
                    <a:pt x="39" y="218"/>
                  </a:cubicBezTo>
                  <a:cubicBezTo>
                    <a:pt x="26" y="218"/>
                    <a:pt x="13" y="218"/>
                    <a:pt x="0" y="218"/>
                  </a:cubicBezTo>
                  <a:cubicBezTo>
                    <a:pt x="0" y="146"/>
                    <a:pt x="0" y="74"/>
                    <a:pt x="0" y="0"/>
                  </a:cubicBezTo>
                  <a:close/>
                </a:path>
              </a:pathLst>
            </a:custGeom>
            <a:solidFill>
              <a:srgbClr val="22419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7" name="Freeform 36"/>
            <p:cNvSpPr>
              <a:spLocks/>
            </p:cNvSpPr>
            <p:nvPr/>
          </p:nvSpPr>
          <p:spPr bwMode="auto">
            <a:xfrm>
              <a:off x="540" y="3820"/>
              <a:ext cx="6" cy="36"/>
            </a:xfrm>
            <a:custGeom>
              <a:avLst/>
              <a:gdLst>
                <a:gd name="T0" fmla="*/ 0 w 38"/>
                <a:gd name="T1" fmla="*/ 0 h 215"/>
                <a:gd name="T2" fmla="*/ 38 w 38"/>
                <a:gd name="T3" fmla="*/ 0 h 215"/>
                <a:gd name="T4" fmla="*/ 38 w 38"/>
                <a:gd name="T5" fmla="*/ 215 h 215"/>
                <a:gd name="T6" fmla="*/ 0 w 38"/>
                <a:gd name="T7" fmla="*/ 215 h 215"/>
                <a:gd name="T8" fmla="*/ 0 w 38"/>
                <a:gd name="T9" fmla="*/ 0 h 2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8" h="215">
                  <a:moveTo>
                    <a:pt x="0" y="0"/>
                  </a:moveTo>
                  <a:cubicBezTo>
                    <a:pt x="12" y="0"/>
                    <a:pt x="25" y="0"/>
                    <a:pt x="38" y="0"/>
                  </a:cubicBezTo>
                  <a:cubicBezTo>
                    <a:pt x="38" y="71"/>
                    <a:pt x="38" y="143"/>
                    <a:pt x="38" y="215"/>
                  </a:cubicBezTo>
                  <a:cubicBezTo>
                    <a:pt x="25" y="215"/>
                    <a:pt x="15" y="215"/>
                    <a:pt x="0" y="215"/>
                  </a:cubicBezTo>
                  <a:cubicBezTo>
                    <a:pt x="0" y="143"/>
                    <a:pt x="0" y="71"/>
                    <a:pt x="0" y="0"/>
                  </a:cubicBezTo>
                  <a:close/>
                </a:path>
              </a:pathLst>
            </a:custGeom>
            <a:solidFill>
              <a:srgbClr val="22419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8" name="Freeform 37"/>
            <p:cNvSpPr>
              <a:spLocks/>
            </p:cNvSpPr>
            <p:nvPr/>
          </p:nvSpPr>
          <p:spPr bwMode="auto">
            <a:xfrm>
              <a:off x="272" y="3820"/>
              <a:ext cx="6" cy="36"/>
            </a:xfrm>
            <a:custGeom>
              <a:avLst/>
              <a:gdLst>
                <a:gd name="T0" fmla="*/ 0 w 38"/>
                <a:gd name="T1" fmla="*/ 215 h 215"/>
                <a:gd name="T2" fmla="*/ 0 w 38"/>
                <a:gd name="T3" fmla="*/ 0 h 215"/>
                <a:gd name="T4" fmla="*/ 38 w 38"/>
                <a:gd name="T5" fmla="*/ 0 h 215"/>
                <a:gd name="T6" fmla="*/ 38 w 38"/>
                <a:gd name="T7" fmla="*/ 215 h 215"/>
                <a:gd name="T8" fmla="*/ 0 w 38"/>
                <a:gd name="T9" fmla="*/ 215 h 2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8" h="215">
                  <a:moveTo>
                    <a:pt x="0" y="215"/>
                  </a:moveTo>
                  <a:cubicBezTo>
                    <a:pt x="0" y="143"/>
                    <a:pt x="0" y="71"/>
                    <a:pt x="0" y="0"/>
                  </a:cubicBezTo>
                  <a:cubicBezTo>
                    <a:pt x="13" y="0"/>
                    <a:pt x="25" y="0"/>
                    <a:pt x="38" y="0"/>
                  </a:cubicBezTo>
                  <a:cubicBezTo>
                    <a:pt x="38" y="71"/>
                    <a:pt x="38" y="143"/>
                    <a:pt x="38" y="215"/>
                  </a:cubicBezTo>
                  <a:cubicBezTo>
                    <a:pt x="25" y="215"/>
                    <a:pt x="13" y="215"/>
                    <a:pt x="0" y="215"/>
                  </a:cubicBezTo>
                  <a:close/>
                </a:path>
              </a:pathLst>
            </a:custGeom>
            <a:solidFill>
              <a:srgbClr val="22419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9" name="Freeform 38"/>
            <p:cNvSpPr>
              <a:spLocks/>
            </p:cNvSpPr>
            <p:nvPr/>
          </p:nvSpPr>
          <p:spPr bwMode="auto">
            <a:xfrm>
              <a:off x="492" y="4078"/>
              <a:ext cx="16" cy="13"/>
            </a:xfrm>
            <a:custGeom>
              <a:avLst/>
              <a:gdLst>
                <a:gd name="T0" fmla="*/ 0 w 100"/>
                <a:gd name="T1" fmla="*/ 34 h 80"/>
                <a:gd name="T2" fmla="*/ 13 w 100"/>
                <a:gd name="T3" fmla="*/ 6 h 80"/>
                <a:gd name="T4" fmla="*/ 36 w 100"/>
                <a:gd name="T5" fmla="*/ 11 h 80"/>
                <a:gd name="T6" fmla="*/ 90 w 100"/>
                <a:gd name="T7" fmla="*/ 49 h 80"/>
                <a:gd name="T8" fmla="*/ 95 w 100"/>
                <a:gd name="T9" fmla="*/ 70 h 80"/>
                <a:gd name="T10" fmla="*/ 75 w 100"/>
                <a:gd name="T11" fmla="*/ 75 h 80"/>
                <a:gd name="T12" fmla="*/ 11 w 100"/>
                <a:gd name="T13" fmla="*/ 44 h 80"/>
                <a:gd name="T14" fmla="*/ 0 w 100"/>
                <a:gd name="T15" fmla="*/ 34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00" h="80">
                  <a:moveTo>
                    <a:pt x="0" y="34"/>
                  </a:moveTo>
                  <a:cubicBezTo>
                    <a:pt x="0" y="18"/>
                    <a:pt x="5" y="11"/>
                    <a:pt x="13" y="6"/>
                  </a:cubicBezTo>
                  <a:cubicBezTo>
                    <a:pt x="23" y="0"/>
                    <a:pt x="29" y="6"/>
                    <a:pt x="36" y="11"/>
                  </a:cubicBezTo>
                  <a:cubicBezTo>
                    <a:pt x="54" y="23"/>
                    <a:pt x="72" y="36"/>
                    <a:pt x="90" y="49"/>
                  </a:cubicBezTo>
                  <a:cubicBezTo>
                    <a:pt x="98" y="54"/>
                    <a:pt x="100" y="59"/>
                    <a:pt x="95" y="70"/>
                  </a:cubicBezTo>
                  <a:cubicBezTo>
                    <a:pt x="90" y="77"/>
                    <a:pt x="85" y="80"/>
                    <a:pt x="75" y="75"/>
                  </a:cubicBezTo>
                  <a:cubicBezTo>
                    <a:pt x="54" y="64"/>
                    <a:pt x="31" y="54"/>
                    <a:pt x="11" y="44"/>
                  </a:cubicBezTo>
                  <a:cubicBezTo>
                    <a:pt x="5" y="41"/>
                    <a:pt x="3" y="36"/>
                    <a:pt x="0" y="34"/>
                  </a:cubicBezTo>
                  <a:close/>
                </a:path>
              </a:pathLst>
            </a:custGeom>
            <a:solidFill>
              <a:srgbClr val="FBB32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0" name="Freeform 39"/>
            <p:cNvSpPr>
              <a:spLocks/>
            </p:cNvSpPr>
            <p:nvPr/>
          </p:nvSpPr>
          <p:spPr bwMode="auto">
            <a:xfrm>
              <a:off x="339" y="4078"/>
              <a:ext cx="16" cy="13"/>
            </a:xfrm>
            <a:custGeom>
              <a:avLst/>
              <a:gdLst>
                <a:gd name="T0" fmla="*/ 100 w 100"/>
                <a:gd name="T1" fmla="*/ 31 h 77"/>
                <a:gd name="T2" fmla="*/ 90 w 100"/>
                <a:gd name="T3" fmla="*/ 41 h 77"/>
                <a:gd name="T4" fmla="*/ 23 w 100"/>
                <a:gd name="T5" fmla="*/ 72 h 77"/>
                <a:gd name="T6" fmla="*/ 2 w 100"/>
                <a:gd name="T7" fmla="*/ 67 h 77"/>
                <a:gd name="T8" fmla="*/ 7 w 100"/>
                <a:gd name="T9" fmla="*/ 46 h 77"/>
                <a:gd name="T10" fmla="*/ 69 w 100"/>
                <a:gd name="T11" fmla="*/ 5 h 77"/>
                <a:gd name="T12" fmla="*/ 84 w 100"/>
                <a:gd name="T13" fmla="*/ 3 h 77"/>
                <a:gd name="T14" fmla="*/ 100 w 100"/>
                <a:gd name="T15" fmla="*/ 31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00" h="77">
                  <a:moveTo>
                    <a:pt x="100" y="31"/>
                  </a:moveTo>
                  <a:cubicBezTo>
                    <a:pt x="97" y="33"/>
                    <a:pt x="95" y="38"/>
                    <a:pt x="90" y="41"/>
                  </a:cubicBezTo>
                  <a:cubicBezTo>
                    <a:pt x="66" y="51"/>
                    <a:pt x="43" y="61"/>
                    <a:pt x="23" y="72"/>
                  </a:cubicBezTo>
                  <a:cubicBezTo>
                    <a:pt x="13" y="77"/>
                    <a:pt x="7" y="74"/>
                    <a:pt x="2" y="67"/>
                  </a:cubicBezTo>
                  <a:cubicBezTo>
                    <a:pt x="0" y="59"/>
                    <a:pt x="0" y="51"/>
                    <a:pt x="7" y="46"/>
                  </a:cubicBezTo>
                  <a:cubicBezTo>
                    <a:pt x="28" y="33"/>
                    <a:pt x="49" y="18"/>
                    <a:pt x="69" y="5"/>
                  </a:cubicBezTo>
                  <a:cubicBezTo>
                    <a:pt x="72" y="3"/>
                    <a:pt x="79" y="0"/>
                    <a:pt x="84" y="3"/>
                  </a:cubicBezTo>
                  <a:cubicBezTo>
                    <a:pt x="95" y="8"/>
                    <a:pt x="97" y="15"/>
                    <a:pt x="100" y="31"/>
                  </a:cubicBezTo>
                  <a:close/>
                </a:path>
              </a:pathLst>
            </a:custGeom>
            <a:solidFill>
              <a:srgbClr val="FBB32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1" name="Freeform 40"/>
            <p:cNvSpPr>
              <a:spLocks/>
            </p:cNvSpPr>
            <p:nvPr/>
          </p:nvSpPr>
          <p:spPr bwMode="auto">
            <a:xfrm>
              <a:off x="511" y="4102"/>
              <a:ext cx="8" cy="18"/>
            </a:xfrm>
            <a:custGeom>
              <a:avLst/>
              <a:gdLst>
                <a:gd name="T0" fmla="*/ 23 w 46"/>
                <a:gd name="T1" fmla="*/ 108 h 108"/>
                <a:gd name="T2" fmla="*/ 2 w 46"/>
                <a:gd name="T3" fmla="*/ 82 h 108"/>
                <a:gd name="T4" fmla="*/ 7 w 46"/>
                <a:gd name="T5" fmla="*/ 18 h 108"/>
                <a:gd name="T6" fmla="*/ 23 w 46"/>
                <a:gd name="T7" fmla="*/ 0 h 108"/>
                <a:gd name="T8" fmla="*/ 38 w 46"/>
                <a:gd name="T9" fmla="*/ 18 h 108"/>
                <a:gd name="T10" fmla="*/ 46 w 46"/>
                <a:gd name="T11" fmla="*/ 90 h 108"/>
                <a:gd name="T12" fmla="*/ 23 w 46"/>
                <a:gd name="T13" fmla="*/ 108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6" h="108">
                  <a:moveTo>
                    <a:pt x="23" y="108"/>
                  </a:moveTo>
                  <a:cubicBezTo>
                    <a:pt x="7" y="108"/>
                    <a:pt x="0" y="100"/>
                    <a:pt x="2" y="82"/>
                  </a:cubicBezTo>
                  <a:cubicBezTo>
                    <a:pt x="5" y="61"/>
                    <a:pt x="5" y="41"/>
                    <a:pt x="7" y="18"/>
                  </a:cubicBezTo>
                  <a:cubicBezTo>
                    <a:pt x="10" y="5"/>
                    <a:pt x="13" y="0"/>
                    <a:pt x="23" y="0"/>
                  </a:cubicBezTo>
                  <a:cubicBezTo>
                    <a:pt x="33" y="0"/>
                    <a:pt x="38" y="5"/>
                    <a:pt x="38" y="18"/>
                  </a:cubicBezTo>
                  <a:cubicBezTo>
                    <a:pt x="41" y="41"/>
                    <a:pt x="43" y="67"/>
                    <a:pt x="46" y="90"/>
                  </a:cubicBezTo>
                  <a:cubicBezTo>
                    <a:pt x="46" y="100"/>
                    <a:pt x="36" y="108"/>
                    <a:pt x="23" y="108"/>
                  </a:cubicBezTo>
                  <a:close/>
                </a:path>
              </a:pathLst>
            </a:custGeom>
            <a:solidFill>
              <a:srgbClr val="FBB32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2" name="Freeform 41"/>
            <p:cNvSpPr>
              <a:spLocks/>
            </p:cNvSpPr>
            <p:nvPr/>
          </p:nvSpPr>
          <p:spPr bwMode="auto">
            <a:xfrm>
              <a:off x="328" y="4102"/>
              <a:ext cx="8" cy="18"/>
            </a:xfrm>
            <a:custGeom>
              <a:avLst/>
              <a:gdLst>
                <a:gd name="T0" fmla="*/ 46 w 46"/>
                <a:gd name="T1" fmla="*/ 90 h 108"/>
                <a:gd name="T2" fmla="*/ 23 w 46"/>
                <a:gd name="T3" fmla="*/ 108 h 108"/>
                <a:gd name="T4" fmla="*/ 2 w 46"/>
                <a:gd name="T5" fmla="*/ 87 h 108"/>
                <a:gd name="T6" fmla="*/ 7 w 46"/>
                <a:gd name="T7" fmla="*/ 15 h 108"/>
                <a:gd name="T8" fmla="*/ 23 w 46"/>
                <a:gd name="T9" fmla="*/ 0 h 108"/>
                <a:gd name="T10" fmla="*/ 38 w 46"/>
                <a:gd name="T11" fmla="*/ 15 h 108"/>
                <a:gd name="T12" fmla="*/ 46 w 46"/>
                <a:gd name="T13" fmla="*/ 90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6" h="108">
                  <a:moveTo>
                    <a:pt x="46" y="90"/>
                  </a:moveTo>
                  <a:cubicBezTo>
                    <a:pt x="46" y="100"/>
                    <a:pt x="38" y="108"/>
                    <a:pt x="23" y="108"/>
                  </a:cubicBezTo>
                  <a:cubicBezTo>
                    <a:pt x="7" y="108"/>
                    <a:pt x="0" y="100"/>
                    <a:pt x="2" y="87"/>
                  </a:cubicBezTo>
                  <a:cubicBezTo>
                    <a:pt x="5" y="64"/>
                    <a:pt x="7" y="38"/>
                    <a:pt x="7" y="15"/>
                  </a:cubicBezTo>
                  <a:cubicBezTo>
                    <a:pt x="10" y="5"/>
                    <a:pt x="15" y="0"/>
                    <a:pt x="23" y="0"/>
                  </a:cubicBezTo>
                  <a:cubicBezTo>
                    <a:pt x="33" y="3"/>
                    <a:pt x="38" y="5"/>
                    <a:pt x="38" y="15"/>
                  </a:cubicBezTo>
                  <a:cubicBezTo>
                    <a:pt x="41" y="38"/>
                    <a:pt x="43" y="64"/>
                    <a:pt x="46" y="90"/>
                  </a:cubicBezTo>
                  <a:close/>
                </a:path>
              </a:pathLst>
            </a:custGeom>
            <a:solidFill>
              <a:srgbClr val="FBB32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3" name="Freeform 42"/>
            <p:cNvSpPr>
              <a:spLocks/>
            </p:cNvSpPr>
            <p:nvPr/>
          </p:nvSpPr>
          <p:spPr bwMode="auto">
            <a:xfrm>
              <a:off x="511" y="4067"/>
              <a:ext cx="8" cy="18"/>
            </a:xfrm>
            <a:custGeom>
              <a:avLst/>
              <a:gdLst>
                <a:gd name="T0" fmla="*/ 43 w 46"/>
                <a:gd name="T1" fmla="*/ 29 h 108"/>
                <a:gd name="T2" fmla="*/ 38 w 46"/>
                <a:gd name="T3" fmla="*/ 95 h 108"/>
                <a:gd name="T4" fmla="*/ 23 w 46"/>
                <a:gd name="T5" fmla="*/ 108 h 108"/>
                <a:gd name="T6" fmla="*/ 7 w 46"/>
                <a:gd name="T7" fmla="*/ 95 h 108"/>
                <a:gd name="T8" fmla="*/ 2 w 46"/>
                <a:gd name="T9" fmla="*/ 21 h 108"/>
                <a:gd name="T10" fmla="*/ 25 w 46"/>
                <a:gd name="T11" fmla="*/ 3 h 108"/>
                <a:gd name="T12" fmla="*/ 43 w 46"/>
                <a:gd name="T13" fmla="*/ 21 h 108"/>
                <a:gd name="T14" fmla="*/ 43 w 46"/>
                <a:gd name="T15" fmla="*/ 29 h 108"/>
                <a:gd name="T16" fmla="*/ 43 w 46"/>
                <a:gd name="T17" fmla="*/ 29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6" h="108">
                  <a:moveTo>
                    <a:pt x="43" y="29"/>
                  </a:moveTo>
                  <a:cubicBezTo>
                    <a:pt x="43" y="49"/>
                    <a:pt x="41" y="72"/>
                    <a:pt x="38" y="95"/>
                  </a:cubicBezTo>
                  <a:cubicBezTo>
                    <a:pt x="38" y="105"/>
                    <a:pt x="30" y="108"/>
                    <a:pt x="23" y="108"/>
                  </a:cubicBezTo>
                  <a:cubicBezTo>
                    <a:pt x="15" y="108"/>
                    <a:pt x="10" y="105"/>
                    <a:pt x="7" y="95"/>
                  </a:cubicBezTo>
                  <a:cubicBezTo>
                    <a:pt x="7" y="70"/>
                    <a:pt x="5" y="46"/>
                    <a:pt x="2" y="21"/>
                  </a:cubicBezTo>
                  <a:cubicBezTo>
                    <a:pt x="0" y="8"/>
                    <a:pt x="10" y="0"/>
                    <a:pt x="25" y="3"/>
                  </a:cubicBezTo>
                  <a:cubicBezTo>
                    <a:pt x="38" y="3"/>
                    <a:pt x="46" y="8"/>
                    <a:pt x="43" y="21"/>
                  </a:cubicBezTo>
                  <a:cubicBezTo>
                    <a:pt x="43" y="23"/>
                    <a:pt x="43" y="26"/>
                    <a:pt x="43" y="29"/>
                  </a:cubicBezTo>
                  <a:cubicBezTo>
                    <a:pt x="43" y="29"/>
                    <a:pt x="43" y="29"/>
                    <a:pt x="43" y="29"/>
                  </a:cubicBezTo>
                  <a:close/>
                </a:path>
              </a:pathLst>
            </a:custGeom>
            <a:solidFill>
              <a:srgbClr val="FBB32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4" name="Freeform 43"/>
            <p:cNvSpPr>
              <a:spLocks/>
            </p:cNvSpPr>
            <p:nvPr/>
          </p:nvSpPr>
          <p:spPr bwMode="auto">
            <a:xfrm>
              <a:off x="492" y="4096"/>
              <a:ext cx="16" cy="13"/>
            </a:xfrm>
            <a:custGeom>
              <a:avLst/>
              <a:gdLst>
                <a:gd name="T0" fmla="*/ 100 w 100"/>
                <a:gd name="T1" fmla="*/ 23 h 80"/>
                <a:gd name="T2" fmla="*/ 95 w 100"/>
                <a:gd name="T3" fmla="*/ 31 h 80"/>
                <a:gd name="T4" fmla="*/ 33 w 100"/>
                <a:gd name="T5" fmla="*/ 74 h 80"/>
                <a:gd name="T6" fmla="*/ 5 w 100"/>
                <a:gd name="T7" fmla="*/ 64 h 80"/>
                <a:gd name="T8" fmla="*/ 10 w 100"/>
                <a:gd name="T9" fmla="*/ 36 h 80"/>
                <a:gd name="T10" fmla="*/ 79 w 100"/>
                <a:gd name="T11" fmla="*/ 5 h 80"/>
                <a:gd name="T12" fmla="*/ 100 w 100"/>
                <a:gd name="T13" fmla="*/ 23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0" h="80">
                  <a:moveTo>
                    <a:pt x="100" y="23"/>
                  </a:moveTo>
                  <a:cubicBezTo>
                    <a:pt x="100" y="26"/>
                    <a:pt x="97" y="28"/>
                    <a:pt x="95" y="31"/>
                  </a:cubicBezTo>
                  <a:cubicBezTo>
                    <a:pt x="74" y="46"/>
                    <a:pt x="54" y="59"/>
                    <a:pt x="33" y="74"/>
                  </a:cubicBezTo>
                  <a:cubicBezTo>
                    <a:pt x="23" y="80"/>
                    <a:pt x="13" y="77"/>
                    <a:pt x="5" y="64"/>
                  </a:cubicBezTo>
                  <a:cubicBezTo>
                    <a:pt x="0" y="51"/>
                    <a:pt x="0" y="41"/>
                    <a:pt x="10" y="36"/>
                  </a:cubicBezTo>
                  <a:cubicBezTo>
                    <a:pt x="33" y="26"/>
                    <a:pt x="56" y="15"/>
                    <a:pt x="79" y="5"/>
                  </a:cubicBezTo>
                  <a:cubicBezTo>
                    <a:pt x="90" y="0"/>
                    <a:pt x="100" y="8"/>
                    <a:pt x="100" y="23"/>
                  </a:cubicBezTo>
                  <a:close/>
                </a:path>
              </a:pathLst>
            </a:custGeom>
            <a:solidFill>
              <a:srgbClr val="FBB32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5" name="Freeform 44"/>
            <p:cNvSpPr>
              <a:spLocks/>
            </p:cNvSpPr>
            <p:nvPr/>
          </p:nvSpPr>
          <p:spPr bwMode="auto">
            <a:xfrm>
              <a:off x="309" y="4096"/>
              <a:ext cx="16" cy="13"/>
            </a:xfrm>
            <a:custGeom>
              <a:avLst/>
              <a:gdLst>
                <a:gd name="T0" fmla="*/ 25 w 102"/>
                <a:gd name="T1" fmla="*/ 77 h 77"/>
                <a:gd name="T2" fmla="*/ 2 w 102"/>
                <a:gd name="T3" fmla="*/ 56 h 77"/>
                <a:gd name="T4" fmla="*/ 13 w 102"/>
                <a:gd name="T5" fmla="*/ 36 h 77"/>
                <a:gd name="T6" fmla="*/ 79 w 102"/>
                <a:gd name="T7" fmla="*/ 5 h 77"/>
                <a:gd name="T8" fmla="*/ 97 w 102"/>
                <a:gd name="T9" fmla="*/ 10 h 77"/>
                <a:gd name="T10" fmla="*/ 92 w 102"/>
                <a:gd name="T11" fmla="*/ 31 h 77"/>
                <a:gd name="T12" fmla="*/ 33 w 102"/>
                <a:gd name="T13" fmla="*/ 74 h 77"/>
                <a:gd name="T14" fmla="*/ 25 w 102"/>
                <a:gd name="T15" fmla="*/ 77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02" h="77">
                  <a:moveTo>
                    <a:pt x="25" y="77"/>
                  </a:moveTo>
                  <a:cubicBezTo>
                    <a:pt x="15" y="77"/>
                    <a:pt x="5" y="69"/>
                    <a:pt x="2" y="56"/>
                  </a:cubicBezTo>
                  <a:cubicBezTo>
                    <a:pt x="0" y="46"/>
                    <a:pt x="2" y="41"/>
                    <a:pt x="13" y="36"/>
                  </a:cubicBezTo>
                  <a:cubicBezTo>
                    <a:pt x="36" y="26"/>
                    <a:pt x="56" y="15"/>
                    <a:pt x="79" y="5"/>
                  </a:cubicBezTo>
                  <a:cubicBezTo>
                    <a:pt x="87" y="0"/>
                    <a:pt x="92" y="5"/>
                    <a:pt x="97" y="10"/>
                  </a:cubicBezTo>
                  <a:cubicBezTo>
                    <a:pt x="102" y="18"/>
                    <a:pt x="102" y="26"/>
                    <a:pt x="92" y="31"/>
                  </a:cubicBezTo>
                  <a:cubicBezTo>
                    <a:pt x="74" y="46"/>
                    <a:pt x="54" y="59"/>
                    <a:pt x="33" y="74"/>
                  </a:cubicBezTo>
                  <a:cubicBezTo>
                    <a:pt x="31" y="74"/>
                    <a:pt x="28" y="77"/>
                    <a:pt x="25" y="77"/>
                  </a:cubicBezTo>
                  <a:close/>
                </a:path>
              </a:pathLst>
            </a:custGeom>
            <a:solidFill>
              <a:srgbClr val="FBB32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6" name="Freeform 45"/>
            <p:cNvSpPr>
              <a:spLocks/>
            </p:cNvSpPr>
            <p:nvPr/>
          </p:nvSpPr>
          <p:spPr bwMode="auto">
            <a:xfrm>
              <a:off x="522" y="4096"/>
              <a:ext cx="16" cy="13"/>
            </a:xfrm>
            <a:custGeom>
              <a:avLst/>
              <a:gdLst>
                <a:gd name="T0" fmla="*/ 100 w 100"/>
                <a:gd name="T1" fmla="*/ 49 h 80"/>
                <a:gd name="T2" fmla="*/ 84 w 100"/>
                <a:gd name="T3" fmla="*/ 74 h 80"/>
                <a:gd name="T4" fmla="*/ 64 w 100"/>
                <a:gd name="T5" fmla="*/ 72 h 80"/>
                <a:gd name="T6" fmla="*/ 7 w 100"/>
                <a:gd name="T7" fmla="*/ 31 h 80"/>
                <a:gd name="T8" fmla="*/ 2 w 100"/>
                <a:gd name="T9" fmla="*/ 13 h 80"/>
                <a:gd name="T10" fmla="*/ 23 w 100"/>
                <a:gd name="T11" fmla="*/ 5 h 80"/>
                <a:gd name="T12" fmla="*/ 90 w 100"/>
                <a:gd name="T13" fmla="*/ 36 h 80"/>
                <a:gd name="T14" fmla="*/ 100 w 100"/>
                <a:gd name="T15" fmla="*/ 49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00" h="80">
                  <a:moveTo>
                    <a:pt x="100" y="49"/>
                  </a:moveTo>
                  <a:cubicBezTo>
                    <a:pt x="97" y="62"/>
                    <a:pt x="95" y="69"/>
                    <a:pt x="84" y="74"/>
                  </a:cubicBezTo>
                  <a:cubicBezTo>
                    <a:pt x="77" y="80"/>
                    <a:pt x="72" y="77"/>
                    <a:pt x="64" y="72"/>
                  </a:cubicBezTo>
                  <a:cubicBezTo>
                    <a:pt x="46" y="59"/>
                    <a:pt x="28" y="44"/>
                    <a:pt x="7" y="31"/>
                  </a:cubicBezTo>
                  <a:cubicBezTo>
                    <a:pt x="0" y="26"/>
                    <a:pt x="0" y="21"/>
                    <a:pt x="2" y="13"/>
                  </a:cubicBezTo>
                  <a:cubicBezTo>
                    <a:pt x="7" y="3"/>
                    <a:pt x="13" y="0"/>
                    <a:pt x="23" y="5"/>
                  </a:cubicBezTo>
                  <a:cubicBezTo>
                    <a:pt x="46" y="15"/>
                    <a:pt x="66" y="26"/>
                    <a:pt x="90" y="36"/>
                  </a:cubicBezTo>
                  <a:cubicBezTo>
                    <a:pt x="95" y="39"/>
                    <a:pt x="97" y="44"/>
                    <a:pt x="100" y="49"/>
                  </a:cubicBezTo>
                  <a:close/>
                </a:path>
              </a:pathLst>
            </a:custGeom>
            <a:solidFill>
              <a:srgbClr val="FBB32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7" name="Freeform 46"/>
            <p:cNvSpPr>
              <a:spLocks/>
            </p:cNvSpPr>
            <p:nvPr/>
          </p:nvSpPr>
          <p:spPr bwMode="auto">
            <a:xfrm>
              <a:off x="339" y="4096"/>
              <a:ext cx="16" cy="14"/>
            </a:xfrm>
            <a:custGeom>
              <a:avLst/>
              <a:gdLst>
                <a:gd name="T0" fmla="*/ 102 w 102"/>
                <a:gd name="T1" fmla="*/ 54 h 82"/>
                <a:gd name="T2" fmla="*/ 84 w 102"/>
                <a:gd name="T3" fmla="*/ 74 h 82"/>
                <a:gd name="T4" fmla="*/ 64 w 102"/>
                <a:gd name="T5" fmla="*/ 69 h 82"/>
                <a:gd name="T6" fmla="*/ 7 w 102"/>
                <a:gd name="T7" fmla="*/ 31 h 82"/>
                <a:gd name="T8" fmla="*/ 2 w 102"/>
                <a:gd name="T9" fmla="*/ 13 h 82"/>
                <a:gd name="T10" fmla="*/ 23 w 102"/>
                <a:gd name="T11" fmla="*/ 5 h 82"/>
                <a:gd name="T12" fmla="*/ 90 w 102"/>
                <a:gd name="T13" fmla="*/ 36 h 82"/>
                <a:gd name="T14" fmla="*/ 102 w 102"/>
                <a:gd name="T15" fmla="*/ 54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02" h="82">
                  <a:moveTo>
                    <a:pt x="102" y="54"/>
                  </a:moveTo>
                  <a:cubicBezTo>
                    <a:pt x="95" y="62"/>
                    <a:pt x="92" y="69"/>
                    <a:pt x="84" y="74"/>
                  </a:cubicBezTo>
                  <a:cubicBezTo>
                    <a:pt x="77" y="82"/>
                    <a:pt x="69" y="74"/>
                    <a:pt x="64" y="69"/>
                  </a:cubicBezTo>
                  <a:cubicBezTo>
                    <a:pt x="46" y="56"/>
                    <a:pt x="25" y="44"/>
                    <a:pt x="7" y="31"/>
                  </a:cubicBezTo>
                  <a:cubicBezTo>
                    <a:pt x="0" y="26"/>
                    <a:pt x="0" y="21"/>
                    <a:pt x="2" y="13"/>
                  </a:cubicBezTo>
                  <a:cubicBezTo>
                    <a:pt x="7" y="5"/>
                    <a:pt x="13" y="0"/>
                    <a:pt x="23" y="5"/>
                  </a:cubicBezTo>
                  <a:cubicBezTo>
                    <a:pt x="46" y="15"/>
                    <a:pt x="66" y="26"/>
                    <a:pt x="90" y="36"/>
                  </a:cubicBezTo>
                  <a:cubicBezTo>
                    <a:pt x="95" y="39"/>
                    <a:pt x="97" y="46"/>
                    <a:pt x="102" y="54"/>
                  </a:cubicBezTo>
                  <a:close/>
                </a:path>
              </a:pathLst>
            </a:custGeom>
            <a:solidFill>
              <a:srgbClr val="FBB32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8" name="Freeform 47"/>
            <p:cNvSpPr>
              <a:spLocks/>
            </p:cNvSpPr>
            <p:nvPr/>
          </p:nvSpPr>
          <p:spPr bwMode="auto">
            <a:xfrm>
              <a:off x="522" y="4078"/>
              <a:ext cx="16" cy="13"/>
            </a:xfrm>
            <a:custGeom>
              <a:avLst/>
              <a:gdLst>
                <a:gd name="T0" fmla="*/ 0 w 102"/>
                <a:gd name="T1" fmla="*/ 57 h 80"/>
                <a:gd name="T2" fmla="*/ 7 w 102"/>
                <a:gd name="T3" fmla="*/ 49 h 80"/>
                <a:gd name="T4" fmla="*/ 69 w 102"/>
                <a:gd name="T5" fmla="*/ 6 h 80"/>
                <a:gd name="T6" fmla="*/ 95 w 102"/>
                <a:gd name="T7" fmla="*/ 16 h 80"/>
                <a:gd name="T8" fmla="*/ 90 w 102"/>
                <a:gd name="T9" fmla="*/ 44 h 80"/>
                <a:gd name="T10" fmla="*/ 23 w 102"/>
                <a:gd name="T11" fmla="*/ 75 h 80"/>
                <a:gd name="T12" fmla="*/ 0 w 102"/>
                <a:gd name="T13" fmla="*/ 57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2" h="80">
                  <a:moveTo>
                    <a:pt x="0" y="57"/>
                  </a:moveTo>
                  <a:cubicBezTo>
                    <a:pt x="2" y="57"/>
                    <a:pt x="2" y="52"/>
                    <a:pt x="7" y="49"/>
                  </a:cubicBezTo>
                  <a:cubicBezTo>
                    <a:pt x="28" y="36"/>
                    <a:pt x="48" y="21"/>
                    <a:pt x="69" y="6"/>
                  </a:cubicBezTo>
                  <a:cubicBezTo>
                    <a:pt x="79" y="0"/>
                    <a:pt x="90" y="6"/>
                    <a:pt x="95" y="16"/>
                  </a:cubicBezTo>
                  <a:cubicBezTo>
                    <a:pt x="102" y="29"/>
                    <a:pt x="100" y="39"/>
                    <a:pt x="90" y="44"/>
                  </a:cubicBezTo>
                  <a:cubicBezTo>
                    <a:pt x="66" y="54"/>
                    <a:pt x="46" y="64"/>
                    <a:pt x="23" y="75"/>
                  </a:cubicBezTo>
                  <a:cubicBezTo>
                    <a:pt x="13" y="80"/>
                    <a:pt x="2" y="72"/>
                    <a:pt x="0" y="57"/>
                  </a:cubicBezTo>
                  <a:close/>
                </a:path>
              </a:pathLst>
            </a:custGeom>
            <a:solidFill>
              <a:srgbClr val="FBB32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9" name="Freeform 48"/>
            <p:cNvSpPr>
              <a:spLocks/>
            </p:cNvSpPr>
            <p:nvPr/>
          </p:nvSpPr>
          <p:spPr bwMode="auto">
            <a:xfrm>
              <a:off x="328" y="4067"/>
              <a:ext cx="8" cy="18"/>
            </a:xfrm>
            <a:custGeom>
              <a:avLst/>
              <a:gdLst>
                <a:gd name="T0" fmla="*/ 23 w 46"/>
                <a:gd name="T1" fmla="*/ 3 h 108"/>
                <a:gd name="T2" fmla="*/ 43 w 46"/>
                <a:gd name="T3" fmla="*/ 26 h 108"/>
                <a:gd name="T4" fmla="*/ 38 w 46"/>
                <a:gd name="T5" fmla="*/ 90 h 108"/>
                <a:gd name="T6" fmla="*/ 23 w 46"/>
                <a:gd name="T7" fmla="*/ 108 h 108"/>
                <a:gd name="T8" fmla="*/ 7 w 46"/>
                <a:gd name="T9" fmla="*/ 93 h 108"/>
                <a:gd name="T10" fmla="*/ 2 w 46"/>
                <a:gd name="T11" fmla="*/ 18 h 108"/>
                <a:gd name="T12" fmla="*/ 23 w 46"/>
                <a:gd name="T13" fmla="*/ 3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6" h="108">
                  <a:moveTo>
                    <a:pt x="23" y="3"/>
                  </a:moveTo>
                  <a:cubicBezTo>
                    <a:pt x="41" y="3"/>
                    <a:pt x="46" y="11"/>
                    <a:pt x="43" y="26"/>
                  </a:cubicBezTo>
                  <a:cubicBezTo>
                    <a:pt x="43" y="46"/>
                    <a:pt x="41" y="70"/>
                    <a:pt x="38" y="90"/>
                  </a:cubicBezTo>
                  <a:cubicBezTo>
                    <a:pt x="38" y="103"/>
                    <a:pt x="33" y="108"/>
                    <a:pt x="23" y="108"/>
                  </a:cubicBezTo>
                  <a:cubicBezTo>
                    <a:pt x="15" y="108"/>
                    <a:pt x="10" y="103"/>
                    <a:pt x="7" y="93"/>
                  </a:cubicBezTo>
                  <a:cubicBezTo>
                    <a:pt x="5" y="67"/>
                    <a:pt x="5" y="44"/>
                    <a:pt x="2" y="18"/>
                  </a:cubicBezTo>
                  <a:cubicBezTo>
                    <a:pt x="0" y="8"/>
                    <a:pt x="10" y="0"/>
                    <a:pt x="23" y="3"/>
                  </a:cubicBezTo>
                  <a:close/>
                </a:path>
              </a:pathLst>
            </a:custGeom>
            <a:solidFill>
              <a:srgbClr val="FBB32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0" name="Freeform 49"/>
            <p:cNvSpPr>
              <a:spLocks/>
            </p:cNvSpPr>
            <p:nvPr/>
          </p:nvSpPr>
          <p:spPr bwMode="auto">
            <a:xfrm>
              <a:off x="308" y="4078"/>
              <a:ext cx="17" cy="13"/>
            </a:xfrm>
            <a:custGeom>
              <a:avLst/>
              <a:gdLst>
                <a:gd name="T0" fmla="*/ 103 w 103"/>
                <a:gd name="T1" fmla="*/ 57 h 80"/>
                <a:gd name="T2" fmla="*/ 80 w 103"/>
                <a:gd name="T3" fmla="*/ 75 h 80"/>
                <a:gd name="T4" fmla="*/ 16 w 103"/>
                <a:gd name="T5" fmla="*/ 44 h 80"/>
                <a:gd name="T6" fmla="*/ 8 w 103"/>
                <a:gd name="T7" fmla="*/ 16 h 80"/>
                <a:gd name="T8" fmla="*/ 36 w 103"/>
                <a:gd name="T9" fmla="*/ 8 h 80"/>
                <a:gd name="T10" fmla="*/ 95 w 103"/>
                <a:gd name="T11" fmla="*/ 49 h 80"/>
                <a:gd name="T12" fmla="*/ 103 w 103"/>
                <a:gd name="T13" fmla="*/ 57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3" h="80">
                  <a:moveTo>
                    <a:pt x="103" y="57"/>
                  </a:moveTo>
                  <a:cubicBezTo>
                    <a:pt x="103" y="72"/>
                    <a:pt x="93" y="80"/>
                    <a:pt x="80" y="75"/>
                  </a:cubicBezTo>
                  <a:cubicBezTo>
                    <a:pt x="59" y="64"/>
                    <a:pt x="36" y="54"/>
                    <a:pt x="16" y="44"/>
                  </a:cubicBezTo>
                  <a:cubicBezTo>
                    <a:pt x="3" y="39"/>
                    <a:pt x="0" y="29"/>
                    <a:pt x="8" y="16"/>
                  </a:cubicBezTo>
                  <a:cubicBezTo>
                    <a:pt x="16" y="3"/>
                    <a:pt x="26" y="0"/>
                    <a:pt x="36" y="8"/>
                  </a:cubicBezTo>
                  <a:cubicBezTo>
                    <a:pt x="57" y="21"/>
                    <a:pt x="77" y="36"/>
                    <a:pt x="95" y="49"/>
                  </a:cubicBezTo>
                  <a:cubicBezTo>
                    <a:pt x="100" y="52"/>
                    <a:pt x="100" y="57"/>
                    <a:pt x="103" y="57"/>
                  </a:cubicBezTo>
                  <a:close/>
                </a:path>
              </a:pathLst>
            </a:custGeom>
            <a:solidFill>
              <a:srgbClr val="FBB32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1" name="Freeform 50"/>
            <p:cNvSpPr>
              <a:spLocks/>
            </p:cNvSpPr>
            <p:nvPr/>
          </p:nvSpPr>
          <p:spPr bwMode="auto">
            <a:xfrm>
              <a:off x="244" y="3720"/>
              <a:ext cx="61" cy="48"/>
            </a:xfrm>
            <a:custGeom>
              <a:avLst/>
              <a:gdLst>
                <a:gd name="T0" fmla="*/ 0 w 369"/>
                <a:gd name="T1" fmla="*/ 0 h 292"/>
                <a:gd name="T2" fmla="*/ 59 w 369"/>
                <a:gd name="T3" fmla="*/ 3 h 292"/>
                <a:gd name="T4" fmla="*/ 66 w 369"/>
                <a:gd name="T5" fmla="*/ 10 h 292"/>
                <a:gd name="T6" fmla="*/ 105 w 369"/>
                <a:gd name="T7" fmla="*/ 213 h 292"/>
                <a:gd name="T8" fmla="*/ 105 w 369"/>
                <a:gd name="T9" fmla="*/ 221 h 292"/>
                <a:gd name="T10" fmla="*/ 156 w 369"/>
                <a:gd name="T11" fmla="*/ 0 h 292"/>
                <a:gd name="T12" fmla="*/ 215 w 369"/>
                <a:gd name="T13" fmla="*/ 3 h 292"/>
                <a:gd name="T14" fmla="*/ 223 w 369"/>
                <a:gd name="T15" fmla="*/ 8 h 292"/>
                <a:gd name="T16" fmla="*/ 266 w 369"/>
                <a:gd name="T17" fmla="*/ 216 h 292"/>
                <a:gd name="T18" fmla="*/ 269 w 369"/>
                <a:gd name="T19" fmla="*/ 198 h 292"/>
                <a:gd name="T20" fmla="*/ 307 w 369"/>
                <a:gd name="T21" fmla="*/ 10 h 292"/>
                <a:gd name="T22" fmla="*/ 317 w 369"/>
                <a:gd name="T23" fmla="*/ 0 h 292"/>
                <a:gd name="T24" fmla="*/ 369 w 369"/>
                <a:gd name="T25" fmla="*/ 0 h 292"/>
                <a:gd name="T26" fmla="*/ 366 w 369"/>
                <a:gd name="T27" fmla="*/ 16 h 292"/>
                <a:gd name="T28" fmla="*/ 297 w 369"/>
                <a:gd name="T29" fmla="*/ 280 h 292"/>
                <a:gd name="T30" fmla="*/ 284 w 369"/>
                <a:gd name="T31" fmla="*/ 290 h 292"/>
                <a:gd name="T32" fmla="*/ 248 w 369"/>
                <a:gd name="T33" fmla="*/ 287 h 292"/>
                <a:gd name="T34" fmla="*/ 223 w 369"/>
                <a:gd name="T35" fmla="*/ 251 h 292"/>
                <a:gd name="T36" fmla="*/ 187 w 369"/>
                <a:gd name="T37" fmla="*/ 85 h 292"/>
                <a:gd name="T38" fmla="*/ 187 w 369"/>
                <a:gd name="T39" fmla="*/ 77 h 292"/>
                <a:gd name="T40" fmla="*/ 164 w 369"/>
                <a:gd name="T41" fmla="*/ 177 h 292"/>
                <a:gd name="T42" fmla="*/ 138 w 369"/>
                <a:gd name="T43" fmla="*/ 282 h 292"/>
                <a:gd name="T44" fmla="*/ 128 w 369"/>
                <a:gd name="T45" fmla="*/ 290 h 292"/>
                <a:gd name="T46" fmla="*/ 97 w 369"/>
                <a:gd name="T47" fmla="*/ 290 h 292"/>
                <a:gd name="T48" fmla="*/ 64 w 369"/>
                <a:gd name="T49" fmla="*/ 262 h 292"/>
                <a:gd name="T50" fmla="*/ 46 w 369"/>
                <a:gd name="T51" fmla="*/ 195 h 292"/>
                <a:gd name="T52" fmla="*/ 0 w 369"/>
                <a:gd name="T53" fmla="*/ 8 h 292"/>
                <a:gd name="T54" fmla="*/ 0 w 369"/>
                <a:gd name="T55" fmla="*/ 0 h 2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369" h="292">
                  <a:moveTo>
                    <a:pt x="0" y="0"/>
                  </a:moveTo>
                  <a:cubicBezTo>
                    <a:pt x="20" y="0"/>
                    <a:pt x="41" y="0"/>
                    <a:pt x="59" y="3"/>
                  </a:cubicBezTo>
                  <a:cubicBezTo>
                    <a:pt x="61" y="3"/>
                    <a:pt x="66" y="5"/>
                    <a:pt x="66" y="10"/>
                  </a:cubicBezTo>
                  <a:cubicBezTo>
                    <a:pt x="79" y="77"/>
                    <a:pt x="92" y="144"/>
                    <a:pt x="105" y="213"/>
                  </a:cubicBezTo>
                  <a:cubicBezTo>
                    <a:pt x="105" y="213"/>
                    <a:pt x="105" y="216"/>
                    <a:pt x="105" y="221"/>
                  </a:cubicBezTo>
                  <a:cubicBezTo>
                    <a:pt x="123" y="146"/>
                    <a:pt x="138" y="75"/>
                    <a:pt x="156" y="0"/>
                  </a:cubicBezTo>
                  <a:cubicBezTo>
                    <a:pt x="176" y="0"/>
                    <a:pt x="194" y="0"/>
                    <a:pt x="215" y="3"/>
                  </a:cubicBezTo>
                  <a:cubicBezTo>
                    <a:pt x="217" y="3"/>
                    <a:pt x="220" y="5"/>
                    <a:pt x="223" y="8"/>
                  </a:cubicBezTo>
                  <a:cubicBezTo>
                    <a:pt x="235" y="77"/>
                    <a:pt x="251" y="146"/>
                    <a:pt x="266" y="216"/>
                  </a:cubicBezTo>
                  <a:cubicBezTo>
                    <a:pt x="266" y="210"/>
                    <a:pt x="269" y="205"/>
                    <a:pt x="269" y="198"/>
                  </a:cubicBezTo>
                  <a:cubicBezTo>
                    <a:pt x="282" y="136"/>
                    <a:pt x="294" y="75"/>
                    <a:pt x="307" y="10"/>
                  </a:cubicBezTo>
                  <a:cubicBezTo>
                    <a:pt x="307" y="3"/>
                    <a:pt x="310" y="0"/>
                    <a:pt x="317" y="0"/>
                  </a:cubicBezTo>
                  <a:cubicBezTo>
                    <a:pt x="335" y="3"/>
                    <a:pt x="351" y="0"/>
                    <a:pt x="369" y="0"/>
                  </a:cubicBezTo>
                  <a:cubicBezTo>
                    <a:pt x="369" y="8"/>
                    <a:pt x="369" y="10"/>
                    <a:pt x="366" y="16"/>
                  </a:cubicBezTo>
                  <a:cubicBezTo>
                    <a:pt x="343" y="103"/>
                    <a:pt x="320" y="192"/>
                    <a:pt x="297" y="280"/>
                  </a:cubicBezTo>
                  <a:cubicBezTo>
                    <a:pt x="294" y="287"/>
                    <a:pt x="292" y="290"/>
                    <a:pt x="284" y="290"/>
                  </a:cubicBezTo>
                  <a:cubicBezTo>
                    <a:pt x="271" y="290"/>
                    <a:pt x="259" y="290"/>
                    <a:pt x="248" y="287"/>
                  </a:cubicBezTo>
                  <a:cubicBezTo>
                    <a:pt x="233" y="282"/>
                    <a:pt x="225" y="267"/>
                    <a:pt x="223" y="251"/>
                  </a:cubicBezTo>
                  <a:cubicBezTo>
                    <a:pt x="210" y="195"/>
                    <a:pt x="200" y="141"/>
                    <a:pt x="187" y="85"/>
                  </a:cubicBezTo>
                  <a:cubicBezTo>
                    <a:pt x="187" y="82"/>
                    <a:pt x="187" y="80"/>
                    <a:pt x="187" y="77"/>
                  </a:cubicBezTo>
                  <a:cubicBezTo>
                    <a:pt x="176" y="110"/>
                    <a:pt x="171" y="144"/>
                    <a:pt x="164" y="177"/>
                  </a:cubicBezTo>
                  <a:cubicBezTo>
                    <a:pt x="153" y="210"/>
                    <a:pt x="146" y="246"/>
                    <a:pt x="138" y="282"/>
                  </a:cubicBezTo>
                  <a:cubicBezTo>
                    <a:pt x="135" y="287"/>
                    <a:pt x="133" y="290"/>
                    <a:pt x="128" y="290"/>
                  </a:cubicBezTo>
                  <a:cubicBezTo>
                    <a:pt x="118" y="290"/>
                    <a:pt x="107" y="292"/>
                    <a:pt x="97" y="290"/>
                  </a:cubicBezTo>
                  <a:cubicBezTo>
                    <a:pt x="79" y="290"/>
                    <a:pt x="69" y="277"/>
                    <a:pt x="64" y="262"/>
                  </a:cubicBezTo>
                  <a:cubicBezTo>
                    <a:pt x="56" y="239"/>
                    <a:pt x="51" y="216"/>
                    <a:pt x="46" y="195"/>
                  </a:cubicBezTo>
                  <a:cubicBezTo>
                    <a:pt x="30" y="131"/>
                    <a:pt x="15" y="69"/>
                    <a:pt x="0" y="8"/>
                  </a:cubicBezTo>
                  <a:cubicBezTo>
                    <a:pt x="0" y="5"/>
                    <a:pt x="0" y="5"/>
                    <a:pt x="0" y="0"/>
                  </a:cubicBezTo>
                  <a:close/>
                </a:path>
              </a:pathLst>
            </a:custGeom>
            <a:solidFill>
              <a:srgbClr val="FEFE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2" name="Freeform 51"/>
            <p:cNvSpPr>
              <a:spLocks/>
            </p:cNvSpPr>
            <p:nvPr/>
          </p:nvSpPr>
          <p:spPr bwMode="auto">
            <a:xfrm>
              <a:off x="356" y="3728"/>
              <a:ext cx="54" cy="39"/>
            </a:xfrm>
            <a:custGeom>
              <a:avLst/>
              <a:gdLst>
                <a:gd name="T0" fmla="*/ 323 w 323"/>
                <a:gd name="T1" fmla="*/ 238 h 238"/>
                <a:gd name="T2" fmla="*/ 265 w 323"/>
                <a:gd name="T3" fmla="*/ 238 h 238"/>
                <a:gd name="T4" fmla="*/ 265 w 323"/>
                <a:gd name="T5" fmla="*/ 228 h 238"/>
                <a:gd name="T6" fmla="*/ 265 w 323"/>
                <a:gd name="T7" fmla="*/ 123 h 238"/>
                <a:gd name="T8" fmla="*/ 259 w 323"/>
                <a:gd name="T9" fmla="*/ 95 h 238"/>
                <a:gd name="T10" fmla="*/ 229 w 323"/>
                <a:gd name="T11" fmla="*/ 69 h 238"/>
                <a:gd name="T12" fmla="*/ 195 w 323"/>
                <a:gd name="T13" fmla="*/ 92 h 238"/>
                <a:gd name="T14" fmla="*/ 190 w 323"/>
                <a:gd name="T15" fmla="*/ 115 h 238"/>
                <a:gd name="T16" fmla="*/ 190 w 323"/>
                <a:gd name="T17" fmla="*/ 238 h 238"/>
                <a:gd name="T18" fmla="*/ 131 w 323"/>
                <a:gd name="T19" fmla="*/ 238 h 238"/>
                <a:gd name="T20" fmla="*/ 131 w 323"/>
                <a:gd name="T21" fmla="*/ 143 h 238"/>
                <a:gd name="T22" fmla="*/ 131 w 323"/>
                <a:gd name="T23" fmla="*/ 100 h 238"/>
                <a:gd name="T24" fmla="*/ 106 w 323"/>
                <a:gd name="T25" fmla="*/ 69 h 238"/>
                <a:gd name="T26" fmla="*/ 67 w 323"/>
                <a:gd name="T27" fmla="*/ 90 h 238"/>
                <a:gd name="T28" fmla="*/ 59 w 323"/>
                <a:gd name="T29" fmla="*/ 115 h 238"/>
                <a:gd name="T30" fmla="*/ 59 w 323"/>
                <a:gd name="T31" fmla="*/ 228 h 238"/>
                <a:gd name="T32" fmla="*/ 59 w 323"/>
                <a:gd name="T33" fmla="*/ 238 h 238"/>
                <a:gd name="T34" fmla="*/ 0 w 323"/>
                <a:gd name="T35" fmla="*/ 238 h 238"/>
                <a:gd name="T36" fmla="*/ 0 w 323"/>
                <a:gd name="T37" fmla="*/ 26 h 238"/>
                <a:gd name="T38" fmla="*/ 57 w 323"/>
                <a:gd name="T39" fmla="*/ 26 h 238"/>
                <a:gd name="T40" fmla="*/ 57 w 323"/>
                <a:gd name="T41" fmla="*/ 51 h 238"/>
                <a:gd name="T42" fmla="*/ 180 w 323"/>
                <a:gd name="T43" fmla="*/ 56 h 238"/>
                <a:gd name="T44" fmla="*/ 193 w 323"/>
                <a:gd name="T45" fmla="*/ 41 h 238"/>
                <a:gd name="T46" fmla="*/ 275 w 323"/>
                <a:gd name="T47" fmla="*/ 23 h 238"/>
                <a:gd name="T48" fmla="*/ 321 w 323"/>
                <a:gd name="T49" fmla="*/ 87 h 238"/>
                <a:gd name="T50" fmla="*/ 323 w 323"/>
                <a:gd name="T51" fmla="*/ 154 h 238"/>
                <a:gd name="T52" fmla="*/ 323 w 323"/>
                <a:gd name="T53" fmla="*/ 238 h 2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323" h="238">
                  <a:moveTo>
                    <a:pt x="323" y="238"/>
                  </a:moveTo>
                  <a:cubicBezTo>
                    <a:pt x="303" y="238"/>
                    <a:pt x="282" y="238"/>
                    <a:pt x="265" y="238"/>
                  </a:cubicBezTo>
                  <a:cubicBezTo>
                    <a:pt x="265" y="236"/>
                    <a:pt x="265" y="231"/>
                    <a:pt x="265" y="228"/>
                  </a:cubicBezTo>
                  <a:cubicBezTo>
                    <a:pt x="265" y="192"/>
                    <a:pt x="265" y="159"/>
                    <a:pt x="265" y="123"/>
                  </a:cubicBezTo>
                  <a:cubicBezTo>
                    <a:pt x="262" y="113"/>
                    <a:pt x="262" y="102"/>
                    <a:pt x="259" y="95"/>
                  </a:cubicBezTo>
                  <a:cubicBezTo>
                    <a:pt x="254" y="77"/>
                    <a:pt x="244" y="69"/>
                    <a:pt x="229" y="69"/>
                  </a:cubicBezTo>
                  <a:cubicBezTo>
                    <a:pt x="213" y="69"/>
                    <a:pt x="200" y="77"/>
                    <a:pt x="195" y="92"/>
                  </a:cubicBezTo>
                  <a:cubicBezTo>
                    <a:pt x="193" y="100"/>
                    <a:pt x="190" y="108"/>
                    <a:pt x="190" y="115"/>
                  </a:cubicBezTo>
                  <a:cubicBezTo>
                    <a:pt x="190" y="156"/>
                    <a:pt x="190" y="197"/>
                    <a:pt x="190" y="238"/>
                  </a:cubicBezTo>
                  <a:cubicBezTo>
                    <a:pt x="172" y="238"/>
                    <a:pt x="152" y="238"/>
                    <a:pt x="131" y="238"/>
                  </a:cubicBezTo>
                  <a:cubicBezTo>
                    <a:pt x="131" y="208"/>
                    <a:pt x="134" y="177"/>
                    <a:pt x="131" y="143"/>
                  </a:cubicBezTo>
                  <a:cubicBezTo>
                    <a:pt x="131" y="128"/>
                    <a:pt x="131" y="115"/>
                    <a:pt x="131" y="100"/>
                  </a:cubicBezTo>
                  <a:cubicBezTo>
                    <a:pt x="129" y="82"/>
                    <a:pt x="118" y="72"/>
                    <a:pt x="106" y="69"/>
                  </a:cubicBezTo>
                  <a:cubicBezTo>
                    <a:pt x="88" y="67"/>
                    <a:pt x="75" y="74"/>
                    <a:pt x="67" y="90"/>
                  </a:cubicBezTo>
                  <a:cubicBezTo>
                    <a:pt x="62" y="97"/>
                    <a:pt x="59" y="105"/>
                    <a:pt x="59" y="115"/>
                  </a:cubicBezTo>
                  <a:cubicBezTo>
                    <a:pt x="59" y="151"/>
                    <a:pt x="59" y="190"/>
                    <a:pt x="59" y="228"/>
                  </a:cubicBezTo>
                  <a:cubicBezTo>
                    <a:pt x="59" y="231"/>
                    <a:pt x="59" y="236"/>
                    <a:pt x="59" y="238"/>
                  </a:cubicBezTo>
                  <a:cubicBezTo>
                    <a:pt x="39" y="238"/>
                    <a:pt x="21" y="238"/>
                    <a:pt x="0" y="238"/>
                  </a:cubicBezTo>
                  <a:cubicBezTo>
                    <a:pt x="0" y="169"/>
                    <a:pt x="0" y="97"/>
                    <a:pt x="0" y="26"/>
                  </a:cubicBezTo>
                  <a:cubicBezTo>
                    <a:pt x="18" y="26"/>
                    <a:pt x="36" y="26"/>
                    <a:pt x="57" y="26"/>
                  </a:cubicBezTo>
                  <a:cubicBezTo>
                    <a:pt x="57" y="33"/>
                    <a:pt x="57" y="41"/>
                    <a:pt x="57" y="51"/>
                  </a:cubicBezTo>
                  <a:cubicBezTo>
                    <a:pt x="93" y="0"/>
                    <a:pt x="162" y="15"/>
                    <a:pt x="180" y="56"/>
                  </a:cubicBezTo>
                  <a:cubicBezTo>
                    <a:pt x="185" y="51"/>
                    <a:pt x="188" y="46"/>
                    <a:pt x="193" y="41"/>
                  </a:cubicBezTo>
                  <a:cubicBezTo>
                    <a:pt x="216" y="20"/>
                    <a:pt x="244" y="13"/>
                    <a:pt x="275" y="23"/>
                  </a:cubicBezTo>
                  <a:cubicBezTo>
                    <a:pt x="303" y="33"/>
                    <a:pt x="316" y="59"/>
                    <a:pt x="321" y="87"/>
                  </a:cubicBezTo>
                  <a:cubicBezTo>
                    <a:pt x="323" y="110"/>
                    <a:pt x="321" y="131"/>
                    <a:pt x="323" y="154"/>
                  </a:cubicBezTo>
                  <a:cubicBezTo>
                    <a:pt x="323" y="182"/>
                    <a:pt x="323" y="210"/>
                    <a:pt x="323" y="238"/>
                  </a:cubicBezTo>
                  <a:close/>
                </a:path>
              </a:pathLst>
            </a:custGeom>
            <a:solidFill>
              <a:srgbClr val="FEFE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3" name="Freeform 52"/>
            <p:cNvSpPr>
              <a:spLocks/>
            </p:cNvSpPr>
            <p:nvPr/>
          </p:nvSpPr>
          <p:spPr bwMode="auto">
            <a:xfrm>
              <a:off x="302" y="3731"/>
              <a:ext cx="32" cy="38"/>
            </a:xfrm>
            <a:custGeom>
              <a:avLst/>
              <a:gdLst>
                <a:gd name="T0" fmla="*/ 133 w 195"/>
                <a:gd name="T1" fmla="*/ 79 h 231"/>
                <a:gd name="T2" fmla="*/ 102 w 195"/>
                <a:gd name="T3" fmla="*/ 43 h 231"/>
                <a:gd name="T4" fmla="*/ 33 w 195"/>
                <a:gd name="T5" fmla="*/ 59 h 231"/>
                <a:gd name="T6" fmla="*/ 20 w 195"/>
                <a:gd name="T7" fmla="*/ 18 h 231"/>
                <a:gd name="T8" fmla="*/ 64 w 195"/>
                <a:gd name="T9" fmla="*/ 5 h 231"/>
                <a:gd name="T10" fmla="*/ 120 w 195"/>
                <a:gd name="T11" fmla="*/ 2 h 231"/>
                <a:gd name="T12" fmla="*/ 192 w 195"/>
                <a:gd name="T13" fmla="*/ 90 h 231"/>
                <a:gd name="T14" fmla="*/ 195 w 195"/>
                <a:gd name="T15" fmla="*/ 190 h 231"/>
                <a:gd name="T16" fmla="*/ 195 w 195"/>
                <a:gd name="T17" fmla="*/ 220 h 231"/>
                <a:gd name="T18" fmla="*/ 138 w 195"/>
                <a:gd name="T19" fmla="*/ 200 h 231"/>
                <a:gd name="T20" fmla="*/ 72 w 195"/>
                <a:gd name="T21" fmla="*/ 225 h 231"/>
                <a:gd name="T22" fmla="*/ 7 w 195"/>
                <a:gd name="T23" fmla="*/ 182 h 231"/>
                <a:gd name="T24" fmla="*/ 36 w 195"/>
                <a:gd name="T25" fmla="*/ 102 h 231"/>
                <a:gd name="T26" fmla="*/ 100 w 195"/>
                <a:gd name="T27" fmla="*/ 82 h 231"/>
                <a:gd name="T28" fmla="*/ 133 w 195"/>
                <a:gd name="T29" fmla="*/ 79 h 2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95" h="231">
                  <a:moveTo>
                    <a:pt x="133" y="79"/>
                  </a:moveTo>
                  <a:cubicBezTo>
                    <a:pt x="131" y="59"/>
                    <a:pt x="123" y="46"/>
                    <a:pt x="102" y="43"/>
                  </a:cubicBezTo>
                  <a:cubicBezTo>
                    <a:pt x="79" y="41"/>
                    <a:pt x="56" y="49"/>
                    <a:pt x="33" y="59"/>
                  </a:cubicBezTo>
                  <a:cubicBezTo>
                    <a:pt x="28" y="46"/>
                    <a:pt x="25" y="33"/>
                    <a:pt x="20" y="18"/>
                  </a:cubicBezTo>
                  <a:cubicBezTo>
                    <a:pt x="36" y="13"/>
                    <a:pt x="48" y="8"/>
                    <a:pt x="64" y="5"/>
                  </a:cubicBezTo>
                  <a:cubicBezTo>
                    <a:pt x="82" y="2"/>
                    <a:pt x="102" y="0"/>
                    <a:pt x="120" y="2"/>
                  </a:cubicBezTo>
                  <a:cubicBezTo>
                    <a:pt x="166" y="8"/>
                    <a:pt x="192" y="38"/>
                    <a:pt x="192" y="90"/>
                  </a:cubicBezTo>
                  <a:cubicBezTo>
                    <a:pt x="195" y="123"/>
                    <a:pt x="192" y="156"/>
                    <a:pt x="195" y="190"/>
                  </a:cubicBezTo>
                  <a:cubicBezTo>
                    <a:pt x="195" y="200"/>
                    <a:pt x="195" y="210"/>
                    <a:pt x="195" y="220"/>
                  </a:cubicBezTo>
                  <a:cubicBezTo>
                    <a:pt x="174" y="231"/>
                    <a:pt x="154" y="225"/>
                    <a:pt x="138" y="200"/>
                  </a:cubicBezTo>
                  <a:cubicBezTo>
                    <a:pt x="120" y="218"/>
                    <a:pt x="97" y="228"/>
                    <a:pt x="72" y="225"/>
                  </a:cubicBezTo>
                  <a:cubicBezTo>
                    <a:pt x="41" y="225"/>
                    <a:pt x="18" y="208"/>
                    <a:pt x="7" y="182"/>
                  </a:cubicBezTo>
                  <a:cubicBezTo>
                    <a:pt x="0" y="151"/>
                    <a:pt x="10" y="120"/>
                    <a:pt x="36" y="102"/>
                  </a:cubicBezTo>
                  <a:cubicBezTo>
                    <a:pt x="54" y="90"/>
                    <a:pt x="77" y="84"/>
                    <a:pt x="100" y="82"/>
                  </a:cubicBezTo>
                  <a:cubicBezTo>
                    <a:pt x="110" y="79"/>
                    <a:pt x="120" y="79"/>
                    <a:pt x="133" y="79"/>
                  </a:cubicBezTo>
                  <a:close/>
                </a:path>
              </a:pathLst>
            </a:custGeom>
            <a:solidFill>
              <a:srgbClr val="FEFE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4" name="Freeform 53"/>
            <p:cNvSpPr>
              <a:spLocks/>
            </p:cNvSpPr>
            <p:nvPr/>
          </p:nvSpPr>
          <p:spPr bwMode="auto">
            <a:xfrm>
              <a:off x="412" y="3731"/>
              <a:ext cx="32" cy="39"/>
            </a:xfrm>
            <a:custGeom>
              <a:avLst/>
              <a:gdLst>
                <a:gd name="T0" fmla="*/ 193 w 193"/>
                <a:gd name="T1" fmla="*/ 221 h 231"/>
                <a:gd name="T2" fmla="*/ 136 w 193"/>
                <a:gd name="T3" fmla="*/ 198 h 231"/>
                <a:gd name="T4" fmla="*/ 90 w 193"/>
                <a:gd name="T5" fmla="*/ 223 h 231"/>
                <a:gd name="T6" fmla="*/ 6 w 193"/>
                <a:gd name="T7" fmla="*/ 164 h 231"/>
                <a:gd name="T8" fmla="*/ 49 w 193"/>
                <a:gd name="T9" fmla="*/ 93 h 231"/>
                <a:gd name="T10" fmla="*/ 123 w 193"/>
                <a:gd name="T11" fmla="*/ 77 h 231"/>
                <a:gd name="T12" fmla="*/ 131 w 193"/>
                <a:gd name="T13" fmla="*/ 77 h 231"/>
                <a:gd name="T14" fmla="*/ 103 w 193"/>
                <a:gd name="T15" fmla="*/ 41 h 231"/>
                <a:gd name="T16" fmla="*/ 31 w 193"/>
                <a:gd name="T17" fmla="*/ 57 h 231"/>
                <a:gd name="T18" fmla="*/ 18 w 193"/>
                <a:gd name="T19" fmla="*/ 18 h 231"/>
                <a:gd name="T20" fmla="*/ 54 w 193"/>
                <a:gd name="T21" fmla="*/ 6 h 231"/>
                <a:gd name="T22" fmla="*/ 116 w 193"/>
                <a:gd name="T23" fmla="*/ 0 h 231"/>
                <a:gd name="T24" fmla="*/ 190 w 193"/>
                <a:gd name="T25" fmla="*/ 75 h 231"/>
                <a:gd name="T26" fmla="*/ 193 w 193"/>
                <a:gd name="T27" fmla="*/ 141 h 231"/>
                <a:gd name="T28" fmla="*/ 193 w 193"/>
                <a:gd name="T29" fmla="*/ 221 h 2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93" h="231">
                  <a:moveTo>
                    <a:pt x="193" y="221"/>
                  </a:moveTo>
                  <a:cubicBezTo>
                    <a:pt x="167" y="229"/>
                    <a:pt x="149" y="221"/>
                    <a:pt x="136" y="198"/>
                  </a:cubicBezTo>
                  <a:cubicBezTo>
                    <a:pt x="123" y="211"/>
                    <a:pt x="108" y="221"/>
                    <a:pt x="90" y="223"/>
                  </a:cubicBezTo>
                  <a:cubicBezTo>
                    <a:pt x="47" y="231"/>
                    <a:pt x="8" y="206"/>
                    <a:pt x="6" y="164"/>
                  </a:cubicBezTo>
                  <a:cubicBezTo>
                    <a:pt x="0" y="134"/>
                    <a:pt x="18" y="106"/>
                    <a:pt x="49" y="93"/>
                  </a:cubicBezTo>
                  <a:cubicBezTo>
                    <a:pt x="72" y="80"/>
                    <a:pt x="98" y="77"/>
                    <a:pt x="123" y="77"/>
                  </a:cubicBezTo>
                  <a:cubicBezTo>
                    <a:pt x="126" y="77"/>
                    <a:pt x="129" y="77"/>
                    <a:pt x="131" y="77"/>
                  </a:cubicBezTo>
                  <a:cubicBezTo>
                    <a:pt x="131" y="57"/>
                    <a:pt x="121" y="47"/>
                    <a:pt x="103" y="41"/>
                  </a:cubicBezTo>
                  <a:cubicBezTo>
                    <a:pt x="77" y="39"/>
                    <a:pt x="54" y="47"/>
                    <a:pt x="31" y="57"/>
                  </a:cubicBezTo>
                  <a:cubicBezTo>
                    <a:pt x="26" y="44"/>
                    <a:pt x="23" y="31"/>
                    <a:pt x="18" y="18"/>
                  </a:cubicBezTo>
                  <a:cubicBezTo>
                    <a:pt x="31" y="13"/>
                    <a:pt x="41" y="8"/>
                    <a:pt x="54" y="6"/>
                  </a:cubicBezTo>
                  <a:cubicBezTo>
                    <a:pt x="75" y="3"/>
                    <a:pt x="95" y="0"/>
                    <a:pt x="116" y="0"/>
                  </a:cubicBezTo>
                  <a:cubicBezTo>
                    <a:pt x="159" y="3"/>
                    <a:pt x="188" y="31"/>
                    <a:pt x="190" y="75"/>
                  </a:cubicBezTo>
                  <a:cubicBezTo>
                    <a:pt x="193" y="98"/>
                    <a:pt x="190" y="118"/>
                    <a:pt x="193" y="141"/>
                  </a:cubicBezTo>
                  <a:cubicBezTo>
                    <a:pt x="193" y="167"/>
                    <a:pt x="193" y="193"/>
                    <a:pt x="193" y="221"/>
                  </a:cubicBezTo>
                  <a:close/>
                </a:path>
              </a:pathLst>
            </a:custGeom>
            <a:solidFill>
              <a:srgbClr val="FEFE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5" name="Freeform 54"/>
            <p:cNvSpPr>
              <a:spLocks/>
            </p:cNvSpPr>
            <p:nvPr/>
          </p:nvSpPr>
          <p:spPr bwMode="auto">
            <a:xfrm>
              <a:off x="475" y="3720"/>
              <a:ext cx="18" cy="49"/>
            </a:xfrm>
            <a:custGeom>
              <a:avLst/>
              <a:gdLst>
                <a:gd name="T0" fmla="*/ 0 w 107"/>
                <a:gd name="T1" fmla="*/ 0 h 292"/>
                <a:gd name="T2" fmla="*/ 59 w 107"/>
                <a:gd name="T3" fmla="*/ 0 h 292"/>
                <a:gd name="T4" fmla="*/ 59 w 107"/>
                <a:gd name="T5" fmla="*/ 66 h 292"/>
                <a:gd name="T6" fmla="*/ 107 w 107"/>
                <a:gd name="T7" fmla="*/ 66 h 292"/>
                <a:gd name="T8" fmla="*/ 107 w 107"/>
                <a:gd name="T9" fmla="*/ 123 h 292"/>
                <a:gd name="T10" fmla="*/ 59 w 107"/>
                <a:gd name="T11" fmla="*/ 123 h 292"/>
                <a:gd name="T12" fmla="*/ 59 w 107"/>
                <a:gd name="T13" fmla="*/ 218 h 292"/>
                <a:gd name="T14" fmla="*/ 87 w 107"/>
                <a:gd name="T15" fmla="*/ 241 h 292"/>
                <a:gd name="T16" fmla="*/ 107 w 107"/>
                <a:gd name="T17" fmla="*/ 238 h 292"/>
                <a:gd name="T18" fmla="*/ 107 w 107"/>
                <a:gd name="T19" fmla="*/ 279 h 292"/>
                <a:gd name="T20" fmla="*/ 102 w 107"/>
                <a:gd name="T21" fmla="*/ 287 h 292"/>
                <a:gd name="T22" fmla="*/ 41 w 107"/>
                <a:gd name="T23" fmla="*/ 287 h 292"/>
                <a:gd name="T24" fmla="*/ 2 w 107"/>
                <a:gd name="T25" fmla="*/ 233 h 292"/>
                <a:gd name="T26" fmla="*/ 0 w 107"/>
                <a:gd name="T27" fmla="*/ 202 h 292"/>
                <a:gd name="T28" fmla="*/ 0 w 107"/>
                <a:gd name="T29" fmla="*/ 13 h 292"/>
                <a:gd name="T30" fmla="*/ 0 w 107"/>
                <a:gd name="T31" fmla="*/ 0 h 2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07" h="292">
                  <a:moveTo>
                    <a:pt x="0" y="0"/>
                  </a:moveTo>
                  <a:cubicBezTo>
                    <a:pt x="20" y="0"/>
                    <a:pt x="38" y="0"/>
                    <a:pt x="59" y="0"/>
                  </a:cubicBezTo>
                  <a:cubicBezTo>
                    <a:pt x="59" y="20"/>
                    <a:pt x="59" y="43"/>
                    <a:pt x="59" y="66"/>
                  </a:cubicBezTo>
                  <a:cubicBezTo>
                    <a:pt x="74" y="66"/>
                    <a:pt x="92" y="66"/>
                    <a:pt x="107" y="66"/>
                  </a:cubicBezTo>
                  <a:cubicBezTo>
                    <a:pt x="107" y="84"/>
                    <a:pt x="107" y="102"/>
                    <a:pt x="107" y="123"/>
                  </a:cubicBezTo>
                  <a:cubicBezTo>
                    <a:pt x="92" y="123"/>
                    <a:pt x="77" y="123"/>
                    <a:pt x="59" y="123"/>
                  </a:cubicBezTo>
                  <a:cubicBezTo>
                    <a:pt x="59" y="154"/>
                    <a:pt x="59" y="187"/>
                    <a:pt x="59" y="218"/>
                  </a:cubicBezTo>
                  <a:cubicBezTo>
                    <a:pt x="61" y="236"/>
                    <a:pt x="72" y="241"/>
                    <a:pt x="87" y="241"/>
                  </a:cubicBezTo>
                  <a:cubicBezTo>
                    <a:pt x="95" y="241"/>
                    <a:pt x="100" y="241"/>
                    <a:pt x="107" y="238"/>
                  </a:cubicBezTo>
                  <a:cubicBezTo>
                    <a:pt x="107" y="254"/>
                    <a:pt x="107" y="266"/>
                    <a:pt x="107" y="279"/>
                  </a:cubicBezTo>
                  <a:cubicBezTo>
                    <a:pt x="107" y="282"/>
                    <a:pt x="105" y="284"/>
                    <a:pt x="102" y="287"/>
                  </a:cubicBezTo>
                  <a:cubicBezTo>
                    <a:pt x="82" y="292"/>
                    <a:pt x="61" y="292"/>
                    <a:pt x="41" y="287"/>
                  </a:cubicBezTo>
                  <a:cubicBezTo>
                    <a:pt x="15" y="279"/>
                    <a:pt x="5" y="259"/>
                    <a:pt x="2" y="233"/>
                  </a:cubicBezTo>
                  <a:cubicBezTo>
                    <a:pt x="0" y="223"/>
                    <a:pt x="0" y="213"/>
                    <a:pt x="0" y="202"/>
                  </a:cubicBezTo>
                  <a:cubicBezTo>
                    <a:pt x="0" y="138"/>
                    <a:pt x="0" y="74"/>
                    <a:pt x="0" y="13"/>
                  </a:cubicBezTo>
                  <a:cubicBezTo>
                    <a:pt x="0" y="7"/>
                    <a:pt x="0" y="5"/>
                    <a:pt x="0" y="0"/>
                  </a:cubicBezTo>
                  <a:close/>
                </a:path>
              </a:pathLst>
            </a:custGeom>
            <a:solidFill>
              <a:srgbClr val="FEFE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6" name="Freeform 55"/>
            <p:cNvSpPr>
              <a:spLocks/>
            </p:cNvSpPr>
            <p:nvPr/>
          </p:nvSpPr>
          <p:spPr bwMode="auto">
            <a:xfrm>
              <a:off x="451" y="3730"/>
              <a:ext cx="20" cy="37"/>
            </a:xfrm>
            <a:custGeom>
              <a:avLst/>
              <a:gdLst>
                <a:gd name="T0" fmla="*/ 51 w 126"/>
                <a:gd name="T1" fmla="*/ 11 h 223"/>
                <a:gd name="T2" fmla="*/ 51 w 126"/>
                <a:gd name="T3" fmla="*/ 49 h 223"/>
                <a:gd name="T4" fmla="*/ 126 w 126"/>
                <a:gd name="T5" fmla="*/ 5 h 223"/>
                <a:gd name="T6" fmla="*/ 126 w 126"/>
                <a:gd name="T7" fmla="*/ 62 h 223"/>
                <a:gd name="T8" fmla="*/ 108 w 126"/>
                <a:gd name="T9" fmla="*/ 62 h 223"/>
                <a:gd name="T10" fmla="*/ 62 w 126"/>
                <a:gd name="T11" fmla="*/ 105 h 223"/>
                <a:gd name="T12" fmla="*/ 59 w 126"/>
                <a:gd name="T13" fmla="*/ 213 h 223"/>
                <a:gd name="T14" fmla="*/ 59 w 126"/>
                <a:gd name="T15" fmla="*/ 223 h 223"/>
                <a:gd name="T16" fmla="*/ 0 w 126"/>
                <a:gd name="T17" fmla="*/ 223 h 223"/>
                <a:gd name="T18" fmla="*/ 0 w 126"/>
                <a:gd name="T19" fmla="*/ 11 h 223"/>
                <a:gd name="T20" fmla="*/ 51 w 126"/>
                <a:gd name="T21" fmla="*/ 11 h 2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26" h="223">
                  <a:moveTo>
                    <a:pt x="51" y="11"/>
                  </a:moveTo>
                  <a:cubicBezTo>
                    <a:pt x="51" y="23"/>
                    <a:pt x="51" y="34"/>
                    <a:pt x="51" y="49"/>
                  </a:cubicBezTo>
                  <a:cubicBezTo>
                    <a:pt x="69" y="16"/>
                    <a:pt x="90" y="0"/>
                    <a:pt x="126" y="5"/>
                  </a:cubicBezTo>
                  <a:cubicBezTo>
                    <a:pt x="126" y="23"/>
                    <a:pt x="126" y="41"/>
                    <a:pt x="126" y="62"/>
                  </a:cubicBezTo>
                  <a:cubicBezTo>
                    <a:pt x="121" y="62"/>
                    <a:pt x="113" y="62"/>
                    <a:pt x="108" y="62"/>
                  </a:cubicBezTo>
                  <a:cubicBezTo>
                    <a:pt x="80" y="62"/>
                    <a:pt x="62" y="77"/>
                    <a:pt x="62" y="105"/>
                  </a:cubicBezTo>
                  <a:cubicBezTo>
                    <a:pt x="59" y="141"/>
                    <a:pt x="59" y="177"/>
                    <a:pt x="59" y="213"/>
                  </a:cubicBezTo>
                  <a:cubicBezTo>
                    <a:pt x="59" y="216"/>
                    <a:pt x="59" y="221"/>
                    <a:pt x="59" y="223"/>
                  </a:cubicBezTo>
                  <a:cubicBezTo>
                    <a:pt x="39" y="223"/>
                    <a:pt x="21" y="223"/>
                    <a:pt x="0" y="223"/>
                  </a:cubicBezTo>
                  <a:cubicBezTo>
                    <a:pt x="0" y="154"/>
                    <a:pt x="0" y="82"/>
                    <a:pt x="0" y="11"/>
                  </a:cubicBezTo>
                  <a:cubicBezTo>
                    <a:pt x="18" y="11"/>
                    <a:pt x="33" y="11"/>
                    <a:pt x="51" y="11"/>
                  </a:cubicBezTo>
                  <a:close/>
                </a:path>
              </a:pathLst>
            </a:custGeom>
            <a:solidFill>
              <a:srgbClr val="FEFE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7" name="Freeform 56"/>
            <p:cNvSpPr>
              <a:spLocks/>
            </p:cNvSpPr>
            <p:nvPr/>
          </p:nvSpPr>
          <p:spPr bwMode="auto">
            <a:xfrm>
              <a:off x="340" y="3720"/>
              <a:ext cx="10" cy="47"/>
            </a:xfrm>
            <a:custGeom>
              <a:avLst/>
              <a:gdLst>
                <a:gd name="T0" fmla="*/ 56 w 56"/>
                <a:gd name="T1" fmla="*/ 0 h 284"/>
                <a:gd name="T2" fmla="*/ 56 w 56"/>
                <a:gd name="T3" fmla="*/ 284 h 284"/>
                <a:gd name="T4" fmla="*/ 0 w 56"/>
                <a:gd name="T5" fmla="*/ 284 h 284"/>
                <a:gd name="T6" fmla="*/ 0 w 56"/>
                <a:gd name="T7" fmla="*/ 0 h 284"/>
                <a:gd name="T8" fmla="*/ 56 w 56"/>
                <a:gd name="T9" fmla="*/ 0 h 2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6" h="284">
                  <a:moveTo>
                    <a:pt x="56" y="0"/>
                  </a:moveTo>
                  <a:cubicBezTo>
                    <a:pt x="56" y="95"/>
                    <a:pt x="56" y="189"/>
                    <a:pt x="56" y="284"/>
                  </a:cubicBezTo>
                  <a:cubicBezTo>
                    <a:pt x="39" y="284"/>
                    <a:pt x="18" y="284"/>
                    <a:pt x="0" y="284"/>
                  </a:cubicBezTo>
                  <a:cubicBezTo>
                    <a:pt x="0" y="189"/>
                    <a:pt x="0" y="95"/>
                    <a:pt x="0" y="0"/>
                  </a:cubicBezTo>
                  <a:cubicBezTo>
                    <a:pt x="18" y="0"/>
                    <a:pt x="36" y="0"/>
                    <a:pt x="56" y="0"/>
                  </a:cubicBezTo>
                  <a:close/>
                </a:path>
              </a:pathLst>
            </a:custGeom>
            <a:solidFill>
              <a:srgbClr val="FEFE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8" name="Freeform 57"/>
            <p:cNvSpPr>
              <a:spLocks/>
            </p:cNvSpPr>
            <p:nvPr/>
          </p:nvSpPr>
          <p:spPr bwMode="auto">
            <a:xfrm>
              <a:off x="508" y="3747"/>
              <a:ext cx="26" cy="21"/>
            </a:xfrm>
            <a:custGeom>
              <a:avLst/>
              <a:gdLst>
                <a:gd name="T0" fmla="*/ 159 w 159"/>
                <a:gd name="T1" fmla="*/ 33 h 125"/>
                <a:gd name="T2" fmla="*/ 151 w 159"/>
                <a:gd name="T3" fmla="*/ 46 h 125"/>
                <a:gd name="T4" fmla="*/ 48 w 159"/>
                <a:gd name="T5" fmla="*/ 118 h 125"/>
                <a:gd name="T6" fmla="*/ 46 w 159"/>
                <a:gd name="T7" fmla="*/ 120 h 125"/>
                <a:gd name="T8" fmla="*/ 7 w 159"/>
                <a:gd name="T9" fmla="*/ 100 h 125"/>
                <a:gd name="T10" fmla="*/ 15 w 159"/>
                <a:gd name="T11" fmla="*/ 59 h 125"/>
                <a:gd name="T12" fmla="*/ 123 w 159"/>
                <a:gd name="T13" fmla="*/ 10 h 125"/>
                <a:gd name="T14" fmla="*/ 159 w 159"/>
                <a:gd name="T15" fmla="*/ 33 h 1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59" h="125">
                  <a:moveTo>
                    <a:pt x="159" y="33"/>
                  </a:moveTo>
                  <a:cubicBezTo>
                    <a:pt x="156" y="38"/>
                    <a:pt x="154" y="43"/>
                    <a:pt x="151" y="46"/>
                  </a:cubicBezTo>
                  <a:cubicBezTo>
                    <a:pt x="118" y="72"/>
                    <a:pt x="84" y="95"/>
                    <a:pt x="48" y="118"/>
                  </a:cubicBezTo>
                  <a:cubicBezTo>
                    <a:pt x="46" y="120"/>
                    <a:pt x="46" y="120"/>
                    <a:pt x="46" y="120"/>
                  </a:cubicBezTo>
                  <a:cubicBezTo>
                    <a:pt x="33" y="125"/>
                    <a:pt x="18" y="118"/>
                    <a:pt x="7" y="100"/>
                  </a:cubicBezTo>
                  <a:cubicBezTo>
                    <a:pt x="0" y="82"/>
                    <a:pt x="2" y="66"/>
                    <a:pt x="15" y="59"/>
                  </a:cubicBezTo>
                  <a:cubicBezTo>
                    <a:pt x="51" y="43"/>
                    <a:pt x="87" y="25"/>
                    <a:pt x="123" y="10"/>
                  </a:cubicBezTo>
                  <a:cubicBezTo>
                    <a:pt x="141" y="0"/>
                    <a:pt x="159" y="13"/>
                    <a:pt x="159" y="33"/>
                  </a:cubicBezTo>
                  <a:close/>
                </a:path>
              </a:pathLst>
            </a:custGeom>
            <a:solidFill>
              <a:srgbClr val="FBB32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9" name="Freeform 58"/>
            <p:cNvSpPr>
              <a:spLocks/>
            </p:cNvSpPr>
            <p:nvPr/>
          </p:nvSpPr>
          <p:spPr bwMode="auto">
            <a:xfrm>
              <a:off x="555" y="3720"/>
              <a:ext cx="26" cy="20"/>
            </a:xfrm>
            <a:custGeom>
              <a:avLst/>
              <a:gdLst>
                <a:gd name="T0" fmla="*/ 156 w 156"/>
                <a:gd name="T1" fmla="*/ 41 h 121"/>
                <a:gd name="T2" fmla="*/ 143 w 156"/>
                <a:gd name="T3" fmla="*/ 64 h 121"/>
                <a:gd name="T4" fmla="*/ 36 w 156"/>
                <a:gd name="T5" fmla="*/ 116 h 121"/>
                <a:gd name="T6" fmla="*/ 5 w 156"/>
                <a:gd name="T7" fmla="*/ 105 h 121"/>
                <a:gd name="T8" fmla="*/ 13 w 156"/>
                <a:gd name="T9" fmla="*/ 75 h 121"/>
                <a:gd name="T10" fmla="*/ 108 w 156"/>
                <a:gd name="T11" fmla="*/ 8 h 121"/>
                <a:gd name="T12" fmla="*/ 141 w 156"/>
                <a:gd name="T13" fmla="*/ 10 h 121"/>
                <a:gd name="T14" fmla="*/ 156 w 156"/>
                <a:gd name="T15" fmla="*/ 41 h 1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56" h="121">
                  <a:moveTo>
                    <a:pt x="156" y="41"/>
                  </a:moveTo>
                  <a:cubicBezTo>
                    <a:pt x="156" y="54"/>
                    <a:pt x="154" y="59"/>
                    <a:pt x="143" y="64"/>
                  </a:cubicBezTo>
                  <a:cubicBezTo>
                    <a:pt x="108" y="82"/>
                    <a:pt x="72" y="98"/>
                    <a:pt x="36" y="116"/>
                  </a:cubicBezTo>
                  <a:cubicBezTo>
                    <a:pt x="23" y="121"/>
                    <a:pt x="13" y="118"/>
                    <a:pt x="5" y="105"/>
                  </a:cubicBezTo>
                  <a:cubicBezTo>
                    <a:pt x="0" y="93"/>
                    <a:pt x="0" y="82"/>
                    <a:pt x="13" y="75"/>
                  </a:cubicBezTo>
                  <a:cubicBezTo>
                    <a:pt x="43" y="51"/>
                    <a:pt x="74" y="31"/>
                    <a:pt x="108" y="8"/>
                  </a:cubicBezTo>
                  <a:cubicBezTo>
                    <a:pt x="120" y="0"/>
                    <a:pt x="131" y="0"/>
                    <a:pt x="141" y="10"/>
                  </a:cubicBezTo>
                  <a:cubicBezTo>
                    <a:pt x="151" y="18"/>
                    <a:pt x="156" y="28"/>
                    <a:pt x="156" y="41"/>
                  </a:cubicBezTo>
                  <a:close/>
                </a:path>
              </a:pathLst>
            </a:custGeom>
            <a:solidFill>
              <a:srgbClr val="FBB32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0" name="Freeform 59"/>
            <p:cNvSpPr>
              <a:spLocks/>
            </p:cNvSpPr>
            <p:nvPr/>
          </p:nvSpPr>
          <p:spPr bwMode="auto">
            <a:xfrm>
              <a:off x="539" y="3757"/>
              <a:ext cx="12" cy="28"/>
            </a:xfrm>
            <a:custGeom>
              <a:avLst/>
              <a:gdLst>
                <a:gd name="T0" fmla="*/ 0 w 70"/>
                <a:gd name="T1" fmla="*/ 136 h 169"/>
                <a:gd name="T2" fmla="*/ 11 w 70"/>
                <a:gd name="T3" fmla="*/ 18 h 169"/>
                <a:gd name="T4" fmla="*/ 34 w 70"/>
                <a:gd name="T5" fmla="*/ 0 h 169"/>
                <a:gd name="T6" fmla="*/ 57 w 70"/>
                <a:gd name="T7" fmla="*/ 18 h 169"/>
                <a:gd name="T8" fmla="*/ 67 w 70"/>
                <a:gd name="T9" fmla="*/ 123 h 169"/>
                <a:gd name="T10" fmla="*/ 67 w 70"/>
                <a:gd name="T11" fmla="*/ 133 h 169"/>
                <a:gd name="T12" fmla="*/ 52 w 70"/>
                <a:gd name="T13" fmla="*/ 164 h 169"/>
                <a:gd name="T14" fmla="*/ 3 w 70"/>
                <a:gd name="T15" fmla="*/ 154 h 169"/>
                <a:gd name="T16" fmla="*/ 0 w 70"/>
                <a:gd name="T17" fmla="*/ 136 h 169"/>
                <a:gd name="T18" fmla="*/ 0 w 70"/>
                <a:gd name="T19" fmla="*/ 136 h 1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0" h="169">
                  <a:moveTo>
                    <a:pt x="0" y="136"/>
                  </a:moveTo>
                  <a:cubicBezTo>
                    <a:pt x="6" y="97"/>
                    <a:pt x="8" y="56"/>
                    <a:pt x="11" y="18"/>
                  </a:cubicBezTo>
                  <a:cubicBezTo>
                    <a:pt x="13" y="5"/>
                    <a:pt x="21" y="0"/>
                    <a:pt x="34" y="0"/>
                  </a:cubicBezTo>
                  <a:cubicBezTo>
                    <a:pt x="49" y="0"/>
                    <a:pt x="57" y="5"/>
                    <a:pt x="57" y="18"/>
                  </a:cubicBezTo>
                  <a:cubicBezTo>
                    <a:pt x="62" y="54"/>
                    <a:pt x="65" y="87"/>
                    <a:pt x="67" y="123"/>
                  </a:cubicBezTo>
                  <a:cubicBezTo>
                    <a:pt x="67" y="125"/>
                    <a:pt x="67" y="128"/>
                    <a:pt x="67" y="133"/>
                  </a:cubicBezTo>
                  <a:cubicBezTo>
                    <a:pt x="70" y="151"/>
                    <a:pt x="65" y="159"/>
                    <a:pt x="52" y="164"/>
                  </a:cubicBezTo>
                  <a:cubicBezTo>
                    <a:pt x="34" y="169"/>
                    <a:pt x="11" y="166"/>
                    <a:pt x="3" y="154"/>
                  </a:cubicBezTo>
                  <a:cubicBezTo>
                    <a:pt x="0" y="148"/>
                    <a:pt x="0" y="143"/>
                    <a:pt x="0" y="136"/>
                  </a:cubicBezTo>
                  <a:cubicBezTo>
                    <a:pt x="0" y="136"/>
                    <a:pt x="0" y="136"/>
                    <a:pt x="0" y="136"/>
                  </a:cubicBezTo>
                  <a:close/>
                </a:path>
              </a:pathLst>
            </a:custGeom>
            <a:solidFill>
              <a:srgbClr val="FBB32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1" name="Freeform 60"/>
            <p:cNvSpPr>
              <a:spLocks/>
            </p:cNvSpPr>
            <p:nvPr/>
          </p:nvSpPr>
          <p:spPr bwMode="auto">
            <a:xfrm>
              <a:off x="555" y="3748"/>
              <a:ext cx="26" cy="20"/>
            </a:xfrm>
            <a:custGeom>
              <a:avLst/>
              <a:gdLst>
                <a:gd name="T0" fmla="*/ 156 w 156"/>
                <a:gd name="T1" fmla="*/ 82 h 121"/>
                <a:gd name="T2" fmla="*/ 138 w 156"/>
                <a:gd name="T3" fmla="*/ 113 h 121"/>
                <a:gd name="T4" fmla="*/ 108 w 156"/>
                <a:gd name="T5" fmla="*/ 113 h 121"/>
                <a:gd name="T6" fmla="*/ 13 w 156"/>
                <a:gd name="T7" fmla="*/ 47 h 121"/>
                <a:gd name="T8" fmla="*/ 8 w 156"/>
                <a:gd name="T9" fmla="*/ 16 h 121"/>
                <a:gd name="T10" fmla="*/ 36 w 156"/>
                <a:gd name="T11" fmla="*/ 6 h 121"/>
                <a:gd name="T12" fmla="*/ 143 w 156"/>
                <a:gd name="T13" fmla="*/ 57 h 121"/>
                <a:gd name="T14" fmla="*/ 156 w 156"/>
                <a:gd name="T15" fmla="*/ 82 h 1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56" h="121">
                  <a:moveTo>
                    <a:pt x="156" y="82"/>
                  </a:moveTo>
                  <a:cubicBezTo>
                    <a:pt x="156" y="93"/>
                    <a:pt x="151" y="106"/>
                    <a:pt x="138" y="113"/>
                  </a:cubicBezTo>
                  <a:cubicBezTo>
                    <a:pt x="128" y="121"/>
                    <a:pt x="120" y="121"/>
                    <a:pt x="108" y="113"/>
                  </a:cubicBezTo>
                  <a:cubicBezTo>
                    <a:pt x="77" y="93"/>
                    <a:pt x="43" y="70"/>
                    <a:pt x="13" y="47"/>
                  </a:cubicBezTo>
                  <a:cubicBezTo>
                    <a:pt x="0" y="39"/>
                    <a:pt x="0" y="29"/>
                    <a:pt x="8" y="16"/>
                  </a:cubicBezTo>
                  <a:cubicBezTo>
                    <a:pt x="13" y="3"/>
                    <a:pt x="23" y="0"/>
                    <a:pt x="36" y="6"/>
                  </a:cubicBezTo>
                  <a:cubicBezTo>
                    <a:pt x="72" y="23"/>
                    <a:pt x="108" y="39"/>
                    <a:pt x="143" y="57"/>
                  </a:cubicBezTo>
                  <a:cubicBezTo>
                    <a:pt x="154" y="62"/>
                    <a:pt x="156" y="70"/>
                    <a:pt x="156" y="82"/>
                  </a:cubicBezTo>
                  <a:close/>
                </a:path>
              </a:pathLst>
            </a:custGeom>
            <a:solidFill>
              <a:srgbClr val="FBB32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2" name="Freeform 61"/>
            <p:cNvSpPr>
              <a:spLocks/>
            </p:cNvSpPr>
            <p:nvPr/>
          </p:nvSpPr>
          <p:spPr bwMode="auto">
            <a:xfrm>
              <a:off x="539" y="3703"/>
              <a:ext cx="12" cy="27"/>
            </a:xfrm>
            <a:custGeom>
              <a:avLst/>
              <a:gdLst>
                <a:gd name="T0" fmla="*/ 34 w 70"/>
                <a:gd name="T1" fmla="*/ 0 h 166"/>
                <a:gd name="T2" fmla="*/ 57 w 70"/>
                <a:gd name="T3" fmla="*/ 5 h 166"/>
                <a:gd name="T4" fmla="*/ 70 w 70"/>
                <a:gd name="T5" fmla="*/ 25 h 166"/>
                <a:gd name="T6" fmla="*/ 57 w 70"/>
                <a:gd name="T7" fmla="*/ 148 h 166"/>
                <a:gd name="T8" fmla="*/ 34 w 70"/>
                <a:gd name="T9" fmla="*/ 166 h 166"/>
                <a:gd name="T10" fmla="*/ 11 w 70"/>
                <a:gd name="T11" fmla="*/ 146 h 166"/>
                <a:gd name="T12" fmla="*/ 0 w 70"/>
                <a:gd name="T13" fmla="*/ 36 h 166"/>
                <a:gd name="T14" fmla="*/ 34 w 70"/>
                <a:gd name="T15" fmla="*/ 0 h 1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0" h="166">
                  <a:moveTo>
                    <a:pt x="34" y="0"/>
                  </a:moveTo>
                  <a:cubicBezTo>
                    <a:pt x="41" y="0"/>
                    <a:pt x="49" y="2"/>
                    <a:pt x="57" y="5"/>
                  </a:cubicBezTo>
                  <a:cubicBezTo>
                    <a:pt x="65" y="10"/>
                    <a:pt x="70" y="18"/>
                    <a:pt x="70" y="25"/>
                  </a:cubicBezTo>
                  <a:cubicBezTo>
                    <a:pt x="65" y="66"/>
                    <a:pt x="62" y="107"/>
                    <a:pt x="57" y="148"/>
                  </a:cubicBezTo>
                  <a:cubicBezTo>
                    <a:pt x="57" y="161"/>
                    <a:pt x="49" y="166"/>
                    <a:pt x="34" y="166"/>
                  </a:cubicBezTo>
                  <a:cubicBezTo>
                    <a:pt x="18" y="166"/>
                    <a:pt x="13" y="161"/>
                    <a:pt x="11" y="146"/>
                  </a:cubicBezTo>
                  <a:cubicBezTo>
                    <a:pt x="8" y="110"/>
                    <a:pt x="6" y="71"/>
                    <a:pt x="0" y="36"/>
                  </a:cubicBezTo>
                  <a:cubicBezTo>
                    <a:pt x="0" y="10"/>
                    <a:pt x="11" y="0"/>
                    <a:pt x="34" y="0"/>
                  </a:cubicBezTo>
                  <a:close/>
                </a:path>
              </a:pathLst>
            </a:custGeom>
            <a:solidFill>
              <a:srgbClr val="FBB32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3" name="Freeform 62"/>
            <p:cNvSpPr>
              <a:spLocks/>
            </p:cNvSpPr>
            <p:nvPr/>
          </p:nvSpPr>
          <p:spPr bwMode="auto">
            <a:xfrm>
              <a:off x="508" y="3720"/>
              <a:ext cx="27" cy="20"/>
            </a:xfrm>
            <a:custGeom>
              <a:avLst/>
              <a:gdLst>
                <a:gd name="T0" fmla="*/ 159 w 159"/>
                <a:gd name="T1" fmla="*/ 90 h 123"/>
                <a:gd name="T2" fmla="*/ 121 w 159"/>
                <a:gd name="T3" fmla="*/ 113 h 123"/>
                <a:gd name="T4" fmla="*/ 18 w 159"/>
                <a:gd name="T5" fmla="*/ 67 h 123"/>
                <a:gd name="T6" fmla="*/ 3 w 159"/>
                <a:gd name="T7" fmla="*/ 36 h 123"/>
                <a:gd name="T8" fmla="*/ 21 w 159"/>
                <a:gd name="T9" fmla="*/ 8 h 123"/>
                <a:gd name="T10" fmla="*/ 49 w 159"/>
                <a:gd name="T11" fmla="*/ 8 h 123"/>
                <a:gd name="T12" fmla="*/ 146 w 159"/>
                <a:gd name="T13" fmla="*/ 75 h 123"/>
                <a:gd name="T14" fmla="*/ 159 w 159"/>
                <a:gd name="T15" fmla="*/ 90 h 1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59" h="123">
                  <a:moveTo>
                    <a:pt x="159" y="90"/>
                  </a:moveTo>
                  <a:cubicBezTo>
                    <a:pt x="157" y="110"/>
                    <a:pt x="139" y="123"/>
                    <a:pt x="121" y="113"/>
                  </a:cubicBezTo>
                  <a:cubicBezTo>
                    <a:pt x="87" y="98"/>
                    <a:pt x="52" y="82"/>
                    <a:pt x="18" y="67"/>
                  </a:cubicBezTo>
                  <a:cubicBezTo>
                    <a:pt x="3" y="59"/>
                    <a:pt x="0" y="51"/>
                    <a:pt x="3" y="36"/>
                  </a:cubicBezTo>
                  <a:cubicBezTo>
                    <a:pt x="3" y="23"/>
                    <a:pt x="11" y="16"/>
                    <a:pt x="21" y="8"/>
                  </a:cubicBezTo>
                  <a:cubicBezTo>
                    <a:pt x="31" y="0"/>
                    <a:pt x="39" y="0"/>
                    <a:pt x="49" y="8"/>
                  </a:cubicBezTo>
                  <a:cubicBezTo>
                    <a:pt x="82" y="31"/>
                    <a:pt x="113" y="51"/>
                    <a:pt x="146" y="75"/>
                  </a:cubicBezTo>
                  <a:cubicBezTo>
                    <a:pt x="152" y="77"/>
                    <a:pt x="154" y="85"/>
                    <a:pt x="159" y="90"/>
                  </a:cubicBezTo>
                  <a:close/>
                </a:path>
              </a:pathLst>
            </a:custGeom>
            <a:solidFill>
              <a:srgbClr val="FBB32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4" name="Freeform 63"/>
            <p:cNvSpPr>
              <a:spLocks/>
            </p:cNvSpPr>
            <p:nvPr/>
          </p:nvSpPr>
          <p:spPr bwMode="auto">
            <a:xfrm>
              <a:off x="312" y="3750"/>
              <a:ext cx="12" cy="13"/>
            </a:xfrm>
            <a:custGeom>
              <a:avLst/>
              <a:gdLst>
                <a:gd name="T0" fmla="*/ 74 w 77"/>
                <a:gd name="T1" fmla="*/ 0 h 74"/>
                <a:gd name="T2" fmla="*/ 74 w 77"/>
                <a:gd name="T3" fmla="*/ 33 h 74"/>
                <a:gd name="T4" fmla="*/ 20 w 77"/>
                <a:gd name="T5" fmla="*/ 61 h 74"/>
                <a:gd name="T6" fmla="*/ 15 w 77"/>
                <a:gd name="T7" fmla="*/ 18 h 74"/>
                <a:gd name="T8" fmla="*/ 41 w 77"/>
                <a:gd name="T9" fmla="*/ 2 h 74"/>
                <a:gd name="T10" fmla="*/ 74 w 77"/>
                <a:gd name="T11" fmla="*/ 0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7" h="74">
                  <a:moveTo>
                    <a:pt x="74" y="0"/>
                  </a:moveTo>
                  <a:cubicBezTo>
                    <a:pt x="74" y="13"/>
                    <a:pt x="77" y="23"/>
                    <a:pt x="74" y="33"/>
                  </a:cubicBezTo>
                  <a:cubicBezTo>
                    <a:pt x="72" y="56"/>
                    <a:pt x="41" y="74"/>
                    <a:pt x="20" y="61"/>
                  </a:cubicBezTo>
                  <a:cubicBezTo>
                    <a:pt x="5" y="54"/>
                    <a:pt x="0" y="28"/>
                    <a:pt x="15" y="18"/>
                  </a:cubicBezTo>
                  <a:cubicBezTo>
                    <a:pt x="23" y="10"/>
                    <a:pt x="33" y="5"/>
                    <a:pt x="41" y="2"/>
                  </a:cubicBezTo>
                  <a:cubicBezTo>
                    <a:pt x="51" y="0"/>
                    <a:pt x="64" y="0"/>
                    <a:pt x="74" y="0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5" name="Freeform 64"/>
            <p:cNvSpPr>
              <a:spLocks/>
            </p:cNvSpPr>
            <p:nvPr/>
          </p:nvSpPr>
          <p:spPr bwMode="auto">
            <a:xfrm>
              <a:off x="423" y="3750"/>
              <a:ext cx="12" cy="12"/>
            </a:xfrm>
            <a:custGeom>
              <a:avLst/>
              <a:gdLst>
                <a:gd name="T0" fmla="*/ 72 w 72"/>
                <a:gd name="T1" fmla="*/ 0 h 69"/>
                <a:gd name="T2" fmla="*/ 69 w 72"/>
                <a:gd name="T3" fmla="*/ 33 h 69"/>
                <a:gd name="T4" fmla="*/ 23 w 72"/>
                <a:gd name="T5" fmla="*/ 64 h 69"/>
                <a:gd name="T6" fmla="*/ 2 w 72"/>
                <a:gd name="T7" fmla="*/ 46 h 69"/>
                <a:gd name="T8" fmla="*/ 13 w 72"/>
                <a:gd name="T9" fmla="*/ 15 h 69"/>
                <a:gd name="T10" fmla="*/ 36 w 72"/>
                <a:gd name="T11" fmla="*/ 5 h 69"/>
                <a:gd name="T12" fmla="*/ 72 w 72"/>
                <a:gd name="T13" fmla="*/ 0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2" h="69">
                  <a:moveTo>
                    <a:pt x="72" y="0"/>
                  </a:moveTo>
                  <a:cubicBezTo>
                    <a:pt x="72" y="13"/>
                    <a:pt x="72" y="23"/>
                    <a:pt x="69" y="33"/>
                  </a:cubicBezTo>
                  <a:cubicBezTo>
                    <a:pt x="67" y="56"/>
                    <a:pt x="44" y="69"/>
                    <a:pt x="23" y="64"/>
                  </a:cubicBezTo>
                  <a:cubicBezTo>
                    <a:pt x="13" y="61"/>
                    <a:pt x="5" y="56"/>
                    <a:pt x="2" y="46"/>
                  </a:cubicBezTo>
                  <a:cubicBezTo>
                    <a:pt x="0" y="33"/>
                    <a:pt x="2" y="23"/>
                    <a:pt x="13" y="15"/>
                  </a:cubicBezTo>
                  <a:cubicBezTo>
                    <a:pt x="20" y="10"/>
                    <a:pt x="28" y="5"/>
                    <a:pt x="36" y="5"/>
                  </a:cubicBezTo>
                  <a:cubicBezTo>
                    <a:pt x="46" y="0"/>
                    <a:pt x="59" y="0"/>
                    <a:pt x="72" y="0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6" name="Freeform 65"/>
            <p:cNvSpPr>
              <a:spLocks noEditPoints="1"/>
            </p:cNvSpPr>
            <p:nvPr/>
          </p:nvSpPr>
          <p:spPr bwMode="auto">
            <a:xfrm>
              <a:off x="584" y="3764"/>
              <a:ext cx="6" cy="5"/>
            </a:xfrm>
            <a:custGeom>
              <a:avLst/>
              <a:gdLst>
                <a:gd name="T0" fmla="*/ 36 w 36"/>
                <a:gd name="T1" fmla="*/ 16 h 34"/>
                <a:gd name="T2" fmla="*/ 18 w 36"/>
                <a:gd name="T3" fmla="*/ 34 h 34"/>
                <a:gd name="T4" fmla="*/ 0 w 36"/>
                <a:gd name="T5" fmla="*/ 16 h 34"/>
                <a:gd name="T6" fmla="*/ 18 w 36"/>
                <a:gd name="T7" fmla="*/ 0 h 34"/>
                <a:gd name="T8" fmla="*/ 36 w 36"/>
                <a:gd name="T9" fmla="*/ 16 h 34"/>
                <a:gd name="T10" fmla="*/ 5 w 36"/>
                <a:gd name="T11" fmla="*/ 16 h 34"/>
                <a:gd name="T12" fmla="*/ 18 w 36"/>
                <a:gd name="T13" fmla="*/ 31 h 34"/>
                <a:gd name="T14" fmla="*/ 31 w 36"/>
                <a:gd name="T15" fmla="*/ 16 h 34"/>
                <a:gd name="T16" fmla="*/ 18 w 36"/>
                <a:gd name="T17" fmla="*/ 3 h 34"/>
                <a:gd name="T18" fmla="*/ 5 w 36"/>
                <a:gd name="T19" fmla="*/ 16 h 34"/>
                <a:gd name="T20" fmla="*/ 16 w 36"/>
                <a:gd name="T21" fmla="*/ 26 h 34"/>
                <a:gd name="T22" fmla="*/ 10 w 36"/>
                <a:gd name="T23" fmla="*/ 26 h 34"/>
                <a:gd name="T24" fmla="*/ 10 w 36"/>
                <a:gd name="T25" fmla="*/ 8 h 34"/>
                <a:gd name="T26" fmla="*/ 18 w 36"/>
                <a:gd name="T27" fmla="*/ 8 h 34"/>
                <a:gd name="T28" fmla="*/ 23 w 36"/>
                <a:gd name="T29" fmla="*/ 11 h 34"/>
                <a:gd name="T30" fmla="*/ 26 w 36"/>
                <a:gd name="T31" fmla="*/ 13 h 34"/>
                <a:gd name="T32" fmla="*/ 21 w 36"/>
                <a:gd name="T33" fmla="*/ 16 h 34"/>
                <a:gd name="T34" fmla="*/ 21 w 36"/>
                <a:gd name="T35" fmla="*/ 18 h 34"/>
                <a:gd name="T36" fmla="*/ 26 w 36"/>
                <a:gd name="T37" fmla="*/ 21 h 34"/>
                <a:gd name="T38" fmla="*/ 26 w 36"/>
                <a:gd name="T39" fmla="*/ 26 h 34"/>
                <a:gd name="T40" fmla="*/ 21 w 36"/>
                <a:gd name="T41" fmla="*/ 26 h 34"/>
                <a:gd name="T42" fmla="*/ 21 w 36"/>
                <a:gd name="T43" fmla="*/ 21 h 34"/>
                <a:gd name="T44" fmla="*/ 18 w 36"/>
                <a:gd name="T45" fmla="*/ 18 h 34"/>
                <a:gd name="T46" fmla="*/ 16 w 36"/>
                <a:gd name="T47" fmla="*/ 18 h 34"/>
                <a:gd name="T48" fmla="*/ 16 w 36"/>
                <a:gd name="T49" fmla="*/ 26 h 34"/>
                <a:gd name="T50" fmla="*/ 16 w 36"/>
                <a:gd name="T51" fmla="*/ 16 h 34"/>
                <a:gd name="T52" fmla="*/ 18 w 36"/>
                <a:gd name="T53" fmla="*/ 16 h 34"/>
                <a:gd name="T54" fmla="*/ 21 w 36"/>
                <a:gd name="T55" fmla="*/ 13 h 34"/>
                <a:gd name="T56" fmla="*/ 18 w 36"/>
                <a:gd name="T57" fmla="*/ 11 h 34"/>
                <a:gd name="T58" fmla="*/ 16 w 36"/>
                <a:gd name="T59" fmla="*/ 11 h 34"/>
                <a:gd name="T60" fmla="*/ 16 w 36"/>
                <a:gd name="T61" fmla="*/ 16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36" h="34">
                  <a:moveTo>
                    <a:pt x="36" y="16"/>
                  </a:moveTo>
                  <a:cubicBezTo>
                    <a:pt x="36" y="26"/>
                    <a:pt x="28" y="34"/>
                    <a:pt x="18" y="34"/>
                  </a:cubicBezTo>
                  <a:cubicBezTo>
                    <a:pt x="8" y="34"/>
                    <a:pt x="0" y="26"/>
                    <a:pt x="0" y="16"/>
                  </a:cubicBezTo>
                  <a:cubicBezTo>
                    <a:pt x="0" y="8"/>
                    <a:pt x="8" y="0"/>
                    <a:pt x="18" y="0"/>
                  </a:cubicBezTo>
                  <a:cubicBezTo>
                    <a:pt x="28" y="0"/>
                    <a:pt x="36" y="8"/>
                    <a:pt x="36" y="16"/>
                  </a:cubicBezTo>
                  <a:close/>
                  <a:moveTo>
                    <a:pt x="5" y="16"/>
                  </a:moveTo>
                  <a:cubicBezTo>
                    <a:pt x="5" y="23"/>
                    <a:pt x="10" y="31"/>
                    <a:pt x="18" y="31"/>
                  </a:cubicBezTo>
                  <a:cubicBezTo>
                    <a:pt x="26" y="31"/>
                    <a:pt x="31" y="23"/>
                    <a:pt x="31" y="16"/>
                  </a:cubicBezTo>
                  <a:cubicBezTo>
                    <a:pt x="31" y="11"/>
                    <a:pt x="26" y="3"/>
                    <a:pt x="18" y="3"/>
                  </a:cubicBezTo>
                  <a:cubicBezTo>
                    <a:pt x="10" y="3"/>
                    <a:pt x="5" y="11"/>
                    <a:pt x="5" y="16"/>
                  </a:cubicBezTo>
                  <a:close/>
                  <a:moveTo>
                    <a:pt x="16" y="26"/>
                  </a:moveTo>
                  <a:cubicBezTo>
                    <a:pt x="10" y="26"/>
                    <a:pt x="10" y="26"/>
                    <a:pt x="10" y="26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3" y="8"/>
                    <a:pt x="16" y="8"/>
                    <a:pt x="18" y="8"/>
                  </a:cubicBezTo>
                  <a:cubicBezTo>
                    <a:pt x="21" y="8"/>
                    <a:pt x="23" y="8"/>
                    <a:pt x="23" y="11"/>
                  </a:cubicBezTo>
                  <a:cubicBezTo>
                    <a:pt x="23" y="11"/>
                    <a:pt x="26" y="11"/>
                    <a:pt x="26" y="13"/>
                  </a:cubicBezTo>
                  <a:cubicBezTo>
                    <a:pt x="26" y="16"/>
                    <a:pt x="23" y="16"/>
                    <a:pt x="21" y="16"/>
                  </a:cubicBezTo>
                  <a:cubicBezTo>
                    <a:pt x="21" y="18"/>
                    <a:pt x="21" y="18"/>
                    <a:pt x="21" y="18"/>
                  </a:cubicBezTo>
                  <a:cubicBezTo>
                    <a:pt x="23" y="18"/>
                    <a:pt x="23" y="18"/>
                    <a:pt x="26" y="21"/>
                  </a:cubicBezTo>
                  <a:cubicBezTo>
                    <a:pt x="26" y="23"/>
                    <a:pt x="26" y="23"/>
                    <a:pt x="26" y="26"/>
                  </a:cubicBezTo>
                  <a:cubicBezTo>
                    <a:pt x="21" y="26"/>
                    <a:pt x="21" y="26"/>
                    <a:pt x="21" y="26"/>
                  </a:cubicBezTo>
                  <a:cubicBezTo>
                    <a:pt x="21" y="23"/>
                    <a:pt x="21" y="23"/>
                    <a:pt x="21" y="21"/>
                  </a:cubicBezTo>
                  <a:cubicBezTo>
                    <a:pt x="21" y="18"/>
                    <a:pt x="18" y="18"/>
                    <a:pt x="18" y="18"/>
                  </a:cubicBezTo>
                  <a:cubicBezTo>
                    <a:pt x="16" y="18"/>
                    <a:pt x="16" y="18"/>
                    <a:pt x="16" y="18"/>
                  </a:cubicBezTo>
                  <a:lnTo>
                    <a:pt x="16" y="26"/>
                  </a:lnTo>
                  <a:close/>
                  <a:moveTo>
                    <a:pt x="16" y="16"/>
                  </a:moveTo>
                  <a:cubicBezTo>
                    <a:pt x="18" y="16"/>
                    <a:pt x="18" y="16"/>
                    <a:pt x="18" y="16"/>
                  </a:cubicBezTo>
                  <a:cubicBezTo>
                    <a:pt x="18" y="16"/>
                    <a:pt x="21" y="16"/>
                    <a:pt x="21" y="13"/>
                  </a:cubicBezTo>
                  <a:cubicBezTo>
                    <a:pt x="21" y="13"/>
                    <a:pt x="21" y="11"/>
                    <a:pt x="18" y="11"/>
                  </a:cubicBezTo>
                  <a:cubicBezTo>
                    <a:pt x="16" y="11"/>
                    <a:pt x="16" y="11"/>
                    <a:pt x="16" y="11"/>
                  </a:cubicBezTo>
                  <a:lnTo>
                    <a:pt x="16" y="16"/>
                  </a:lnTo>
                  <a:close/>
                </a:path>
              </a:pathLst>
            </a:custGeom>
            <a:solidFill>
              <a:srgbClr val="FBB32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422130381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-Three Content Stack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Placeholder 7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62C4268-07C4-419F-A184-60B7139F40B3}" type="slidenum">
              <a:rPr lang="en-US" smtClean="0"/>
              <a:t>‹#›</a:t>
            </a:fld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13" name="Content Placeholder 12"/>
          <p:cNvSpPr>
            <a:spLocks noGrp="1"/>
          </p:cNvSpPr>
          <p:nvPr>
            <p:ph sz="quarter" idx="13"/>
          </p:nvPr>
        </p:nvSpPr>
        <p:spPr>
          <a:xfrm>
            <a:off x="432030" y="843195"/>
            <a:ext cx="7092721" cy="1237301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15" name="Content Placeholder 14"/>
          <p:cNvSpPr>
            <a:spLocks noGrp="1"/>
          </p:cNvSpPr>
          <p:nvPr>
            <p:ph sz="quarter" idx="14"/>
          </p:nvPr>
        </p:nvSpPr>
        <p:spPr>
          <a:xfrm>
            <a:off x="432198" y="2172286"/>
            <a:ext cx="7092553" cy="1237301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Content Placeholder 14"/>
          <p:cNvSpPr>
            <a:spLocks noGrp="1"/>
          </p:cNvSpPr>
          <p:nvPr>
            <p:ph sz="quarter" idx="15"/>
          </p:nvPr>
        </p:nvSpPr>
        <p:spPr>
          <a:xfrm>
            <a:off x="432198" y="3501377"/>
            <a:ext cx="7092553" cy="1360906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27C1CE45-12BE-44EB-87B1-C80F14748F59}" type="datetimeFigureOut">
              <a:rPr lang="en-US" smtClean="0"/>
              <a:t>9/6/2017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7663213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-Four Content Stack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Placeholder 7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62C4268-07C4-419F-A184-60B7139F40B3}" type="slidenum">
              <a:rPr lang="en-US" smtClean="0"/>
              <a:t>‹#›</a:t>
            </a:fld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13" name="Content Placeholder 12"/>
          <p:cNvSpPr>
            <a:spLocks noGrp="1"/>
          </p:cNvSpPr>
          <p:nvPr>
            <p:ph sz="quarter" idx="13"/>
          </p:nvPr>
        </p:nvSpPr>
        <p:spPr>
          <a:xfrm>
            <a:off x="432030" y="843196"/>
            <a:ext cx="7092721" cy="947032"/>
          </a:xfrm>
        </p:spPr>
        <p:txBody>
          <a:bodyPr>
            <a:noAutofit/>
          </a:bodyPr>
          <a:lstStyle>
            <a:lvl1pPr>
              <a:defRPr sz="1400"/>
            </a:lvl1pPr>
            <a:lvl2pPr>
              <a:defRPr sz="1400"/>
            </a:lvl2pPr>
            <a:lvl3pPr>
              <a:defRPr sz="11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5" name="Content Placeholder 14"/>
          <p:cNvSpPr>
            <a:spLocks noGrp="1"/>
          </p:cNvSpPr>
          <p:nvPr>
            <p:ph sz="quarter" idx="14"/>
          </p:nvPr>
        </p:nvSpPr>
        <p:spPr>
          <a:xfrm>
            <a:off x="432198" y="1853911"/>
            <a:ext cx="7092553" cy="947032"/>
          </a:xfrm>
        </p:spPr>
        <p:txBody>
          <a:bodyPr>
            <a:noAutofit/>
          </a:bodyPr>
          <a:lstStyle>
            <a:lvl1pPr>
              <a:defRPr sz="1400"/>
            </a:lvl1pPr>
            <a:lvl2pPr>
              <a:defRPr sz="1400"/>
            </a:lvl2pPr>
            <a:lvl3pPr>
              <a:defRPr sz="11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Content Placeholder 14"/>
          <p:cNvSpPr>
            <a:spLocks noGrp="1"/>
          </p:cNvSpPr>
          <p:nvPr>
            <p:ph sz="quarter" idx="15"/>
          </p:nvPr>
        </p:nvSpPr>
        <p:spPr>
          <a:xfrm>
            <a:off x="432198" y="2864626"/>
            <a:ext cx="7092553" cy="947032"/>
          </a:xfrm>
        </p:spPr>
        <p:txBody>
          <a:bodyPr>
            <a:noAutofit/>
          </a:bodyPr>
          <a:lstStyle>
            <a:lvl1pPr>
              <a:defRPr sz="1400"/>
            </a:lvl1pPr>
            <a:lvl2pPr>
              <a:defRPr sz="1400"/>
            </a:lvl2pPr>
            <a:lvl3pPr>
              <a:defRPr sz="11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9" name="Content Placeholder 14"/>
          <p:cNvSpPr>
            <a:spLocks noGrp="1"/>
          </p:cNvSpPr>
          <p:nvPr>
            <p:ph sz="quarter" idx="16"/>
          </p:nvPr>
        </p:nvSpPr>
        <p:spPr>
          <a:xfrm>
            <a:off x="432198" y="3875340"/>
            <a:ext cx="7092553" cy="947032"/>
          </a:xfrm>
        </p:spPr>
        <p:txBody>
          <a:bodyPr>
            <a:noAutofit/>
          </a:bodyPr>
          <a:lstStyle>
            <a:lvl1pPr>
              <a:defRPr sz="1400"/>
            </a:lvl1pPr>
            <a:lvl2pPr>
              <a:defRPr sz="1400"/>
            </a:lvl2pPr>
            <a:lvl3pPr>
              <a:defRPr sz="11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fld id="{27C1CE45-12BE-44EB-87B1-C80F14748F59}" type="datetimeFigureOut">
              <a:rPr lang="en-US" smtClean="0"/>
              <a:t>9/6/2017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2216673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-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2867183" y="843196"/>
            <a:ext cx="2267747" cy="4019087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1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62C4268-07C4-419F-A184-60B7139F40B3}" type="slidenum">
              <a:rPr lang="en-US" smtClean="0"/>
              <a:t>‹#›</a:t>
            </a:fld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7" name="Content Placeholder 3"/>
          <p:cNvSpPr>
            <a:spLocks noGrp="1"/>
          </p:cNvSpPr>
          <p:nvPr>
            <p:ph sz="half" idx="11"/>
          </p:nvPr>
        </p:nvSpPr>
        <p:spPr>
          <a:xfrm>
            <a:off x="5257591" y="843196"/>
            <a:ext cx="2267747" cy="4019087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1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11" name="Content Placeholder 3"/>
          <p:cNvSpPr>
            <a:spLocks noGrp="1"/>
          </p:cNvSpPr>
          <p:nvPr>
            <p:ph sz="half" idx="12"/>
          </p:nvPr>
        </p:nvSpPr>
        <p:spPr>
          <a:xfrm>
            <a:off x="432030" y="843196"/>
            <a:ext cx="2312492" cy="4019087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1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fld id="{27C1CE45-12BE-44EB-87B1-C80F14748F59}" type="datetimeFigureOut">
              <a:rPr lang="en-US" smtClean="0"/>
              <a:t>9/6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502520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-Fou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Placeholder 7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62C4268-07C4-419F-A184-60B7139F40B3}" type="slidenum">
              <a:rPr lang="en-US" smtClean="0"/>
              <a:t>‹#›</a:t>
            </a:fld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15" name="Content Placeholder 14"/>
          <p:cNvSpPr>
            <a:spLocks noGrp="1"/>
          </p:cNvSpPr>
          <p:nvPr>
            <p:ph sz="quarter" idx="14"/>
          </p:nvPr>
        </p:nvSpPr>
        <p:spPr>
          <a:xfrm>
            <a:off x="432029" y="843196"/>
            <a:ext cx="1662113" cy="3876442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200"/>
            </a:lvl2pPr>
            <a:lvl3pPr>
              <a:defRPr sz="9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16" name="Content Placeholder 14"/>
          <p:cNvSpPr>
            <a:spLocks noGrp="1"/>
          </p:cNvSpPr>
          <p:nvPr>
            <p:ph sz="quarter" idx="15"/>
          </p:nvPr>
        </p:nvSpPr>
        <p:spPr>
          <a:xfrm>
            <a:off x="2244787" y="843196"/>
            <a:ext cx="1662113" cy="3876442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200"/>
            </a:lvl2pPr>
            <a:lvl3pPr>
              <a:defRPr sz="9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17" name="Content Placeholder 14"/>
          <p:cNvSpPr>
            <a:spLocks noGrp="1"/>
          </p:cNvSpPr>
          <p:nvPr>
            <p:ph sz="quarter" idx="16"/>
          </p:nvPr>
        </p:nvSpPr>
        <p:spPr>
          <a:xfrm>
            <a:off x="4057544" y="843196"/>
            <a:ext cx="1662113" cy="3876442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200"/>
            </a:lvl2pPr>
            <a:lvl3pPr>
              <a:defRPr sz="9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18" name="Content Placeholder 14"/>
          <p:cNvSpPr>
            <a:spLocks noGrp="1"/>
          </p:cNvSpPr>
          <p:nvPr>
            <p:ph sz="quarter" idx="17"/>
          </p:nvPr>
        </p:nvSpPr>
        <p:spPr>
          <a:xfrm>
            <a:off x="5870302" y="843196"/>
            <a:ext cx="1662113" cy="3876442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200"/>
            </a:lvl2pPr>
            <a:lvl3pPr>
              <a:defRPr sz="9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27C1CE45-12BE-44EB-87B1-C80F14748F59}" type="datetimeFigureOut">
              <a:rPr lang="en-US" smtClean="0"/>
              <a:t>9/6/2017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5978990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-Four Content Gr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Placeholder 7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62C4268-07C4-419F-A184-60B7139F40B3}" type="slidenum">
              <a:rPr lang="en-US" smtClean="0"/>
              <a:t>‹#›</a:t>
            </a:fld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3"/>
          </p:nvPr>
        </p:nvSpPr>
        <p:spPr>
          <a:xfrm>
            <a:off x="432029" y="843196"/>
            <a:ext cx="3480197" cy="1864127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10" name="Content Placeholder 3"/>
          <p:cNvSpPr>
            <a:spLocks noGrp="1"/>
          </p:cNvSpPr>
          <p:nvPr>
            <p:ph sz="quarter" idx="14"/>
          </p:nvPr>
        </p:nvSpPr>
        <p:spPr>
          <a:xfrm>
            <a:off x="4045141" y="843196"/>
            <a:ext cx="3480197" cy="1864127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Content Placeholder 3"/>
          <p:cNvSpPr>
            <a:spLocks noGrp="1"/>
          </p:cNvSpPr>
          <p:nvPr>
            <p:ph sz="quarter" idx="15"/>
          </p:nvPr>
        </p:nvSpPr>
        <p:spPr>
          <a:xfrm>
            <a:off x="432029" y="2828026"/>
            <a:ext cx="3480197" cy="1864127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Content Placeholder 3"/>
          <p:cNvSpPr>
            <a:spLocks noGrp="1"/>
          </p:cNvSpPr>
          <p:nvPr>
            <p:ph sz="quarter" idx="16"/>
          </p:nvPr>
        </p:nvSpPr>
        <p:spPr>
          <a:xfrm>
            <a:off x="4045141" y="2828026"/>
            <a:ext cx="3480197" cy="1864127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fld id="{27C1CE45-12BE-44EB-87B1-C80F14748F59}" type="datetimeFigureOut">
              <a:rPr lang="en-US" smtClean="0"/>
              <a:t>9/6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7145966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-No Shield or Header 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3"/>
          <p:cNvGrpSpPr/>
          <p:nvPr/>
        </p:nvGrpSpPr>
        <p:grpSpPr>
          <a:xfrm rot="10800000">
            <a:off x="9328279" y="-2"/>
            <a:ext cx="552110" cy="5143502"/>
            <a:chOff x="374073" y="0"/>
            <a:chExt cx="310113" cy="6858000"/>
          </a:xfrm>
        </p:grpSpPr>
        <p:pic>
          <p:nvPicPr>
            <p:cNvPr id="5" name="Graphic 4"/>
            <p:cNvPicPr>
              <a:picLocks noChangeAspect="1"/>
            </p:cNvPicPr>
            <p:nvPr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xmlns="" r:embed="rId3"/>
                </a:ext>
              </a:extLst>
            </a:blip>
            <a:stretch>
              <a:fillRect/>
            </a:stretch>
          </p:blipFill>
          <p:spPr>
            <a:xfrm>
              <a:off x="624892" y="0"/>
              <a:ext cx="59294" cy="6858000"/>
            </a:xfrm>
            <a:prstGeom prst="rect">
              <a:avLst/>
            </a:prstGeom>
          </p:spPr>
        </p:pic>
        <p:sp>
          <p:nvSpPr>
            <p:cNvPr id="8" name="Rectangle 7"/>
            <p:cNvSpPr/>
            <p:nvPr/>
          </p:nvSpPr>
          <p:spPr>
            <a:xfrm flipH="1">
              <a:off x="374073" y="0"/>
              <a:ext cx="249956" cy="68580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sp>
        <p:nvSpPr>
          <p:cNvPr id="6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62C4268-07C4-419F-A184-60B7139F40B3}" type="slidenum">
              <a:rPr lang="en-US" smtClean="0"/>
              <a:t>‹#›</a:t>
            </a:fld>
            <a:endParaRPr lang="en-US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72" name="Content Placeholder 2"/>
          <p:cNvSpPr>
            <a:spLocks noGrp="1"/>
          </p:cNvSpPr>
          <p:nvPr>
            <p:ph idx="1"/>
          </p:nvPr>
        </p:nvSpPr>
        <p:spPr>
          <a:xfrm>
            <a:off x="432030" y="843196"/>
            <a:ext cx="7093309" cy="4019087"/>
          </a:xfrm>
          <a:prstGeom prst="rect">
            <a:avLst/>
          </a:prstGeom>
        </p:spPr>
        <p:txBody>
          <a:bodyPr numCol="1" spcCol="34290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27C1CE45-12BE-44EB-87B1-C80F14748F59}" type="datetimeFigureOut">
              <a:rPr lang="en-US" smtClean="0"/>
              <a:t>9/6/2017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7011976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-No Header 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/>
          <p:cNvGrpSpPr/>
          <p:nvPr/>
        </p:nvGrpSpPr>
        <p:grpSpPr>
          <a:xfrm rot="10800000">
            <a:off x="9333629" y="-2"/>
            <a:ext cx="552110" cy="5143502"/>
            <a:chOff x="374073" y="0"/>
            <a:chExt cx="310113" cy="6858000"/>
          </a:xfrm>
        </p:grpSpPr>
        <p:pic>
          <p:nvPicPr>
            <p:cNvPr id="4" name="Graphic 3"/>
            <p:cNvPicPr>
              <a:picLocks noChangeAspect="1"/>
            </p:cNvPicPr>
            <p:nvPr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xmlns="" r:embed="rId3"/>
                </a:ext>
              </a:extLst>
            </a:blip>
            <a:stretch>
              <a:fillRect/>
            </a:stretch>
          </p:blipFill>
          <p:spPr>
            <a:xfrm>
              <a:off x="624892" y="0"/>
              <a:ext cx="59294" cy="6858000"/>
            </a:xfrm>
            <a:prstGeom prst="rect">
              <a:avLst/>
            </a:prstGeom>
          </p:spPr>
        </p:pic>
        <p:sp>
          <p:nvSpPr>
            <p:cNvPr id="6" name="Rectangle 5"/>
            <p:cNvSpPr/>
            <p:nvPr/>
          </p:nvSpPr>
          <p:spPr>
            <a:xfrm flipH="1">
              <a:off x="374073" y="0"/>
              <a:ext cx="249956" cy="68580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grpSp>
        <p:nvGrpSpPr>
          <p:cNvPr id="7" name="Group 4"/>
          <p:cNvGrpSpPr>
            <a:grpSpLocks noChangeAspect="1"/>
          </p:cNvGrpSpPr>
          <p:nvPr/>
        </p:nvGrpSpPr>
        <p:grpSpPr bwMode="auto">
          <a:xfrm>
            <a:off x="7783038" y="3603343"/>
            <a:ext cx="1247194" cy="1175984"/>
            <a:chOff x="117" y="3646"/>
            <a:chExt cx="613" cy="578"/>
          </a:xfrm>
        </p:grpSpPr>
        <p:sp>
          <p:nvSpPr>
            <p:cNvPr id="8" name="AutoShape 3"/>
            <p:cNvSpPr>
              <a:spLocks noChangeAspect="1" noChangeArrowheads="1" noTextEdit="1"/>
            </p:cNvSpPr>
            <p:nvPr/>
          </p:nvSpPr>
          <p:spPr bwMode="auto">
            <a:xfrm>
              <a:off x="117" y="3646"/>
              <a:ext cx="613" cy="5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" name="Freeform 5"/>
            <p:cNvSpPr>
              <a:spLocks/>
            </p:cNvSpPr>
            <p:nvPr/>
          </p:nvSpPr>
          <p:spPr bwMode="auto">
            <a:xfrm>
              <a:off x="125" y="3654"/>
              <a:ext cx="597" cy="562"/>
            </a:xfrm>
            <a:custGeom>
              <a:avLst/>
              <a:gdLst>
                <a:gd name="T0" fmla="*/ 1572 w 3628"/>
                <a:gd name="T1" fmla="*/ 3344 h 3371"/>
                <a:gd name="T2" fmla="*/ 1411 w 3628"/>
                <a:gd name="T3" fmla="*/ 3284 h 3371"/>
                <a:gd name="T4" fmla="*/ 1402 w 3628"/>
                <a:gd name="T5" fmla="*/ 3281 h 3371"/>
                <a:gd name="T6" fmla="*/ 904 w 3628"/>
                <a:gd name="T7" fmla="*/ 3064 h 3371"/>
                <a:gd name="T8" fmla="*/ 500 w 3628"/>
                <a:gd name="T9" fmla="*/ 2789 h 3371"/>
                <a:gd name="T10" fmla="*/ 347 w 3628"/>
                <a:gd name="T11" fmla="*/ 2452 h 3371"/>
                <a:gd name="T12" fmla="*/ 323 w 3628"/>
                <a:gd name="T13" fmla="*/ 2223 h 3371"/>
                <a:gd name="T14" fmla="*/ 313 w 3628"/>
                <a:gd name="T15" fmla="*/ 2061 h 3371"/>
                <a:gd name="T16" fmla="*/ 0 w 3628"/>
                <a:gd name="T17" fmla="*/ 1872 h 3371"/>
                <a:gd name="T18" fmla="*/ 186 w 3628"/>
                <a:gd name="T19" fmla="*/ 1056 h 3371"/>
                <a:gd name="T20" fmla="*/ 241 w 3628"/>
                <a:gd name="T21" fmla="*/ 1046 h 3371"/>
                <a:gd name="T22" fmla="*/ 234 w 3628"/>
                <a:gd name="T23" fmla="*/ 940 h 3371"/>
                <a:gd name="T24" fmla="*/ 218 w 3628"/>
                <a:gd name="T25" fmla="*/ 716 h 3371"/>
                <a:gd name="T26" fmla="*/ 214 w 3628"/>
                <a:gd name="T27" fmla="*/ 670 h 3371"/>
                <a:gd name="T28" fmla="*/ 213 w 3628"/>
                <a:gd name="T29" fmla="*/ 665 h 3371"/>
                <a:gd name="T30" fmla="*/ 205 w 3628"/>
                <a:gd name="T31" fmla="*/ 516 h 3371"/>
                <a:gd name="T32" fmla="*/ 341 w 3628"/>
                <a:gd name="T33" fmla="*/ 166 h 3371"/>
                <a:gd name="T34" fmla="*/ 679 w 3628"/>
                <a:gd name="T35" fmla="*/ 2 h 3371"/>
                <a:gd name="T36" fmla="*/ 698 w 3628"/>
                <a:gd name="T37" fmla="*/ 1 h 3371"/>
                <a:gd name="T38" fmla="*/ 2914 w 3628"/>
                <a:gd name="T39" fmla="*/ 0 h 3371"/>
                <a:gd name="T40" fmla="*/ 3259 w 3628"/>
                <a:gd name="T41" fmla="*/ 132 h 3371"/>
                <a:gd name="T42" fmla="*/ 3425 w 3628"/>
                <a:gd name="T43" fmla="*/ 467 h 3371"/>
                <a:gd name="T44" fmla="*/ 3423 w 3628"/>
                <a:gd name="T45" fmla="*/ 597 h 3371"/>
                <a:gd name="T46" fmla="*/ 3423 w 3628"/>
                <a:gd name="T47" fmla="*/ 618 h 3371"/>
                <a:gd name="T48" fmla="*/ 3410 w 3628"/>
                <a:gd name="T49" fmla="*/ 772 h 3371"/>
                <a:gd name="T50" fmla="*/ 3392 w 3628"/>
                <a:gd name="T51" fmla="*/ 1036 h 3371"/>
                <a:gd name="T52" fmla="*/ 3442 w 3628"/>
                <a:gd name="T53" fmla="*/ 1056 h 3371"/>
                <a:gd name="T54" fmla="*/ 3628 w 3628"/>
                <a:gd name="T55" fmla="*/ 1872 h 3371"/>
                <a:gd name="T56" fmla="*/ 3318 w 3628"/>
                <a:gd name="T57" fmla="*/ 2061 h 3371"/>
                <a:gd name="T58" fmla="*/ 3310 w 3628"/>
                <a:gd name="T59" fmla="*/ 2180 h 3371"/>
                <a:gd name="T60" fmla="*/ 3307 w 3628"/>
                <a:gd name="T61" fmla="*/ 2210 h 3371"/>
                <a:gd name="T62" fmla="*/ 3169 w 3628"/>
                <a:gd name="T63" fmla="*/ 2739 h 3371"/>
                <a:gd name="T64" fmla="*/ 2908 w 3628"/>
                <a:gd name="T65" fmla="*/ 2981 h 3371"/>
                <a:gd name="T66" fmla="*/ 2788 w 3628"/>
                <a:gd name="T67" fmla="*/ 3038 h 3371"/>
                <a:gd name="T68" fmla="*/ 2785 w 3628"/>
                <a:gd name="T69" fmla="*/ 3039 h 3371"/>
                <a:gd name="T70" fmla="*/ 2756 w 3628"/>
                <a:gd name="T71" fmla="*/ 3050 h 3371"/>
                <a:gd name="T72" fmla="*/ 2753 w 3628"/>
                <a:gd name="T73" fmla="*/ 3052 h 3371"/>
                <a:gd name="T74" fmla="*/ 2182 w 3628"/>
                <a:gd name="T75" fmla="*/ 3303 h 3371"/>
                <a:gd name="T76" fmla="*/ 1930 w 3628"/>
                <a:gd name="T77" fmla="*/ 3365 h 33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3628" h="3371">
                  <a:moveTo>
                    <a:pt x="1817" y="3371"/>
                  </a:moveTo>
                  <a:cubicBezTo>
                    <a:pt x="1729" y="3371"/>
                    <a:pt x="1646" y="3362"/>
                    <a:pt x="1572" y="3344"/>
                  </a:cubicBezTo>
                  <a:cubicBezTo>
                    <a:pt x="1571" y="3344"/>
                    <a:pt x="1571" y="3344"/>
                    <a:pt x="1571" y="3344"/>
                  </a:cubicBezTo>
                  <a:cubicBezTo>
                    <a:pt x="1510" y="3328"/>
                    <a:pt x="1458" y="3304"/>
                    <a:pt x="1411" y="3284"/>
                  </a:cubicBezTo>
                  <a:cubicBezTo>
                    <a:pt x="1410" y="3283"/>
                    <a:pt x="1410" y="3283"/>
                    <a:pt x="1410" y="3283"/>
                  </a:cubicBezTo>
                  <a:cubicBezTo>
                    <a:pt x="1402" y="3281"/>
                    <a:pt x="1402" y="3281"/>
                    <a:pt x="1402" y="3281"/>
                  </a:cubicBezTo>
                  <a:cubicBezTo>
                    <a:pt x="1401" y="3280"/>
                    <a:pt x="1401" y="3280"/>
                    <a:pt x="1401" y="3280"/>
                  </a:cubicBezTo>
                  <a:cubicBezTo>
                    <a:pt x="1219" y="3202"/>
                    <a:pt x="1059" y="3132"/>
                    <a:pt x="904" y="3064"/>
                  </a:cubicBezTo>
                  <a:cubicBezTo>
                    <a:pt x="861" y="3045"/>
                    <a:pt x="819" y="3026"/>
                    <a:pt x="777" y="3008"/>
                  </a:cubicBezTo>
                  <a:cubicBezTo>
                    <a:pt x="673" y="2961"/>
                    <a:pt x="580" y="2888"/>
                    <a:pt x="500" y="2789"/>
                  </a:cubicBezTo>
                  <a:cubicBezTo>
                    <a:pt x="500" y="2788"/>
                    <a:pt x="500" y="2788"/>
                    <a:pt x="500" y="2788"/>
                  </a:cubicBezTo>
                  <a:cubicBezTo>
                    <a:pt x="416" y="2681"/>
                    <a:pt x="366" y="2571"/>
                    <a:pt x="347" y="2452"/>
                  </a:cubicBezTo>
                  <a:cubicBezTo>
                    <a:pt x="342" y="2422"/>
                    <a:pt x="339" y="2395"/>
                    <a:pt x="336" y="2369"/>
                  </a:cubicBezTo>
                  <a:cubicBezTo>
                    <a:pt x="323" y="2223"/>
                    <a:pt x="323" y="2223"/>
                    <a:pt x="323" y="2223"/>
                  </a:cubicBezTo>
                  <a:cubicBezTo>
                    <a:pt x="323" y="2221"/>
                    <a:pt x="323" y="2221"/>
                    <a:pt x="323" y="2221"/>
                  </a:cubicBezTo>
                  <a:cubicBezTo>
                    <a:pt x="323" y="2218"/>
                    <a:pt x="322" y="2198"/>
                    <a:pt x="313" y="2061"/>
                  </a:cubicBezTo>
                  <a:cubicBezTo>
                    <a:pt x="186" y="2061"/>
                    <a:pt x="186" y="2061"/>
                    <a:pt x="186" y="2061"/>
                  </a:cubicBezTo>
                  <a:cubicBezTo>
                    <a:pt x="84" y="2061"/>
                    <a:pt x="0" y="1976"/>
                    <a:pt x="0" y="1872"/>
                  </a:cubicBezTo>
                  <a:cubicBezTo>
                    <a:pt x="0" y="1242"/>
                    <a:pt x="0" y="1242"/>
                    <a:pt x="0" y="1242"/>
                  </a:cubicBezTo>
                  <a:cubicBezTo>
                    <a:pt x="0" y="1139"/>
                    <a:pt x="84" y="1056"/>
                    <a:pt x="186" y="1056"/>
                  </a:cubicBezTo>
                  <a:cubicBezTo>
                    <a:pt x="242" y="1056"/>
                    <a:pt x="242" y="1056"/>
                    <a:pt x="242" y="1056"/>
                  </a:cubicBezTo>
                  <a:cubicBezTo>
                    <a:pt x="242" y="1055"/>
                    <a:pt x="242" y="1048"/>
                    <a:pt x="241" y="1046"/>
                  </a:cubicBezTo>
                  <a:cubicBezTo>
                    <a:pt x="240" y="1045"/>
                    <a:pt x="240" y="1045"/>
                    <a:pt x="240" y="1045"/>
                  </a:cubicBezTo>
                  <a:cubicBezTo>
                    <a:pt x="234" y="940"/>
                    <a:pt x="234" y="940"/>
                    <a:pt x="234" y="940"/>
                  </a:cubicBezTo>
                  <a:cubicBezTo>
                    <a:pt x="231" y="903"/>
                    <a:pt x="229" y="865"/>
                    <a:pt x="226" y="827"/>
                  </a:cubicBezTo>
                  <a:cubicBezTo>
                    <a:pt x="223" y="790"/>
                    <a:pt x="221" y="753"/>
                    <a:pt x="218" y="716"/>
                  </a:cubicBezTo>
                  <a:cubicBezTo>
                    <a:pt x="217" y="708"/>
                    <a:pt x="216" y="699"/>
                    <a:pt x="216" y="690"/>
                  </a:cubicBezTo>
                  <a:cubicBezTo>
                    <a:pt x="215" y="683"/>
                    <a:pt x="215" y="676"/>
                    <a:pt x="214" y="670"/>
                  </a:cubicBezTo>
                  <a:cubicBezTo>
                    <a:pt x="213" y="668"/>
                    <a:pt x="213" y="668"/>
                    <a:pt x="213" y="668"/>
                  </a:cubicBezTo>
                  <a:cubicBezTo>
                    <a:pt x="213" y="665"/>
                    <a:pt x="213" y="665"/>
                    <a:pt x="213" y="665"/>
                  </a:cubicBezTo>
                  <a:cubicBezTo>
                    <a:pt x="212" y="649"/>
                    <a:pt x="211" y="633"/>
                    <a:pt x="210" y="618"/>
                  </a:cubicBezTo>
                  <a:cubicBezTo>
                    <a:pt x="208" y="585"/>
                    <a:pt x="205" y="552"/>
                    <a:pt x="205" y="516"/>
                  </a:cubicBezTo>
                  <a:cubicBezTo>
                    <a:pt x="205" y="386"/>
                    <a:pt x="253" y="262"/>
                    <a:pt x="341" y="166"/>
                  </a:cubicBezTo>
                  <a:cubicBezTo>
                    <a:pt x="341" y="166"/>
                    <a:pt x="341" y="166"/>
                    <a:pt x="341" y="166"/>
                  </a:cubicBezTo>
                  <a:cubicBezTo>
                    <a:pt x="430" y="72"/>
                    <a:pt x="549" y="13"/>
                    <a:pt x="677" y="2"/>
                  </a:cubicBezTo>
                  <a:cubicBezTo>
                    <a:pt x="679" y="2"/>
                    <a:pt x="679" y="2"/>
                    <a:pt x="679" y="2"/>
                  </a:cubicBezTo>
                  <a:cubicBezTo>
                    <a:pt x="681" y="2"/>
                    <a:pt x="681" y="2"/>
                    <a:pt x="681" y="2"/>
                  </a:cubicBezTo>
                  <a:cubicBezTo>
                    <a:pt x="687" y="2"/>
                    <a:pt x="692" y="2"/>
                    <a:pt x="698" y="1"/>
                  </a:cubicBezTo>
                  <a:cubicBezTo>
                    <a:pt x="706" y="0"/>
                    <a:pt x="715" y="0"/>
                    <a:pt x="725" y="0"/>
                  </a:cubicBezTo>
                  <a:cubicBezTo>
                    <a:pt x="2914" y="0"/>
                    <a:pt x="2914" y="0"/>
                    <a:pt x="2914" y="0"/>
                  </a:cubicBezTo>
                  <a:cubicBezTo>
                    <a:pt x="3039" y="0"/>
                    <a:pt x="3161" y="47"/>
                    <a:pt x="3258" y="132"/>
                  </a:cubicBezTo>
                  <a:cubicBezTo>
                    <a:pt x="3259" y="132"/>
                    <a:pt x="3259" y="132"/>
                    <a:pt x="3259" y="132"/>
                  </a:cubicBezTo>
                  <a:cubicBezTo>
                    <a:pt x="3355" y="220"/>
                    <a:pt x="3414" y="339"/>
                    <a:pt x="3425" y="466"/>
                  </a:cubicBezTo>
                  <a:cubicBezTo>
                    <a:pt x="3425" y="467"/>
                    <a:pt x="3425" y="467"/>
                    <a:pt x="3425" y="467"/>
                  </a:cubicBezTo>
                  <a:cubicBezTo>
                    <a:pt x="3425" y="467"/>
                    <a:pt x="3425" y="467"/>
                    <a:pt x="3425" y="467"/>
                  </a:cubicBezTo>
                  <a:cubicBezTo>
                    <a:pt x="3428" y="517"/>
                    <a:pt x="3425" y="561"/>
                    <a:pt x="3423" y="597"/>
                  </a:cubicBezTo>
                  <a:cubicBezTo>
                    <a:pt x="3423" y="616"/>
                    <a:pt x="3423" y="616"/>
                    <a:pt x="3423" y="616"/>
                  </a:cubicBezTo>
                  <a:cubicBezTo>
                    <a:pt x="3423" y="618"/>
                    <a:pt x="3423" y="618"/>
                    <a:pt x="3423" y="618"/>
                  </a:cubicBezTo>
                  <a:cubicBezTo>
                    <a:pt x="3420" y="644"/>
                    <a:pt x="3418" y="669"/>
                    <a:pt x="3416" y="693"/>
                  </a:cubicBezTo>
                  <a:cubicBezTo>
                    <a:pt x="3415" y="719"/>
                    <a:pt x="3413" y="746"/>
                    <a:pt x="3410" y="772"/>
                  </a:cubicBezTo>
                  <a:cubicBezTo>
                    <a:pt x="3410" y="797"/>
                    <a:pt x="3407" y="820"/>
                    <a:pt x="3405" y="842"/>
                  </a:cubicBezTo>
                  <a:cubicBezTo>
                    <a:pt x="3404" y="864"/>
                    <a:pt x="3400" y="922"/>
                    <a:pt x="3392" y="1036"/>
                  </a:cubicBezTo>
                  <a:cubicBezTo>
                    <a:pt x="3390" y="1056"/>
                    <a:pt x="3390" y="1056"/>
                    <a:pt x="3390" y="1056"/>
                  </a:cubicBezTo>
                  <a:cubicBezTo>
                    <a:pt x="3442" y="1056"/>
                    <a:pt x="3442" y="1056"/>
                    <a:pt x="3442" y="1056"/>
                  </a:cubicBezTo>
                  <a:cubicBezTo>
                    <a:pt x="3544" y="1056"/>
                    <a:pt x="3628" y="1139"/>
                    <a:pt x="3628" y="1242"/>
                  </a:cubicBezTo>
                  <a:cubicBezTo>
                    <a:pt x="3628" y="1872"/>
                    <a:pt x="3628" y="1872"/>
                    <a:pt x="3628" y="1872"/>
                  </a:cubicBezTo>
                  <a:cubicBezTo>
                    <a:pt x="3628" y="1976"/>
                    <a:pt x="3544" y="2061"/>
                    <a:pt x="3442" y="2061"/>
                  </a:cubicBezTo>
                  <a:cubicBezTo>
                    <a:pt x="3318" y="2061"/>
                    <a:pt x="3318" y="2061"/>
                    <a:pt x="3318" y="2061"/>
                  </a:cubicBezTo>
                  <a:cubicBezTo>
                    <a:pt x="3317" y="2075"/>
                    <a:pt x="3317" y="2090"/>
                    <a:pt x="3315" y="2106"/>
                  </a:cubicBezTo>
                  <a:cubicBezTo>
                    <a:pt x="3312" y="2130"/>
                    <a:pt x="3310" y="2156"/>
                    <a:pt x="3310" y="2180"/>
                  </a:cubicBezTo>
                  <a:cubicBezTo>
                    <a:pt x="3310" y="2182"/>
                    <a:pt x="3310" y="2182"/>
                    <a:pt x="3310" y="2182"/>
                  </a:cubicBezTo>
                  <a:cubicBezTo>
                    <a:pt x="3307" y="2210"/>
                    <a:pt x="3307" y="2210"/>
                    <a:pt x="3307" y="2210"/>
                  </a:cubicBezTo>
                  <a:cubicBezTo>
                    <a:pt x="3303" y="2258"/>
                    <a:pt x="3299" y="2304"/>
                    <a:pt x="3297" y="2348"/>
                  </a:cubicBezTo>
                  <a:cubicBezTo>
                    <a:pt x="3294" y="2481"/>
                    <a:pt x="3250" y="2616"/>
                    <a:pt x="3169" y="2739"/>
                  </a:cubicBezTo>
                  <a:cubicBezTo>
                    <a:pt x="3168" y="2740"/>
                    <a:pt x="3168" y="2740"/>
                    <a:pt x="3168" y="2740"/>
                  </a:cubicBezTo>
                  <a:cubicBezTo>
                    <a:pt x="3096" y="2846"/>
                    <a:pt x="3003" y="2931"/>
                    <a:pt x="2908" y="2981"/>
                  </a:cubicBezTo>
                  <a:cubicBezTo>
                    <a:pt x="2877" y="2998"/>
                    <a:pt x="2848" y="3011"/>
                    <a:pt x="2820" y="3024"/>
                  </a:cubicBezTo>
                  <a:cubicBezTo>
                    <a:pt x="2809" y="3029"/>
                    <a:pt x="2798" y="3033"/>
                    <a:pt x="2788" y="3038"/>
                  </a:cubicBezTo>
                  <a:cubicBezTo>
                    <a:pt x="2787" y="3039"/>
                    <a:pt x="2787" y="3039"/>
                    <a:pt x="2787" y="3039"/>
                  </a:cubicBezTo>
                  <a:cubicBezTo>
                    <a:pt x="2785" y="3039"/>
                    <a:pt x="2785" y="3039"/>
                    <a:pt x="2785" y="3039"/>
                  </a:cubicBezTo>
                  <a:cubicBezTo>
                    <a:pt x="2779" y="3042"/>
                    <a:pt x="2774" y="3044"/>
                    <a:pt x="2769" y="3045"/>
                  </a:cubicBezTo>
                  <a:cubicBezTo>
                    <a:pt x="2764" y="3047"/>
                    <a:pt x="2759" y="3049"/>
                    <a:pt x="2756" y="3050"/>
                  </a:cubicBezTo>
                  <a:cubicBezTo>
                    <a:pt x="2755" y="3051"/>
                    <a:pt x="2755" y="3051"/>
                    <a:pt x="2755" y="3051"/>
                  </a:cubicBezTo>
                  <a:cubicBezTo>
                    <a:pt x="2753" y="3052"/>
                    <a:pt x="2753" y="3052"/>
                    <a:pt x="2753" y="3052"/>
                  </a:cubicBezTo>
                  <a:cubicBezTo>
                    <a:pt x="2619" y="3110"/>
                    <a:pt x="2486" y="3169"/>
                    <a:pt x="2357" y="3226"/>
                  </a:cubicBezTo>
                  <a:cubicBezTo>
                    <a:pt x="2296" y="3253"/>
                    <a:pt x="2237" y="3278"/>
                    <a:pt x="2182" y="3303"/>
                  </a:cubicBezTo>
                  <a:cubicBezTo>
                    <a:pt x="2181" y="3303"/>
                    <a:pt x="2181" y="3303"/>
                    <a:pt x="2181" y="3303"/>
                  </a:cubicBezTo>
                  <a:cubicBezTo>
                    <a:pt x="2101" y="3337"/>
                    <a:pt x="2019" y="3358"/>
                    <a:pt x="1930" y="3365"/>
                  </a:cubicBezTo>
                  <a:cubicBezTo>
                    <a:pt x="1891" y="3371"/>
                    <a:pt x="1851" y="3371"/>
                    <a:pt x="1817" y="337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" name="Freeform 6"/>
            <p:cNvSpPr>
              <a:spLocks noEditPoints="1"/>
            </p:cNvSpPr>
            <p:nvPr/>
          </p:nvSpPr>
          <p:spPr bwMode="auto">
            <a:xfrm>
              <a:off x="117" y="3646"/>
              <a:ext cx="613" cy="578"/>
            </a:xfrm>
            <a:custGeom>
              <a:avLst/>
              <a:gdLst>
                <a:gd name="T0" fmla="*/ 3425 w 3722"/>
                <a:gd name="T1" fmla="*/ 518 h 3466"/>
                <a:gd name="T2" fmla="*/ 3409 w 3722"/>
                <a:gd name="T3" fmla="*/ 818 h 3466"/>
                <a:gd name="T4" fmla="*/ 3489 w 3722"/>
                <a:gd name="T5" fmla="*/ 1151 h 3466"/>
                <a:gd name="T6" fmla="*/ 3489 w 3722"/>
                <a:gd name="T7" fmla="*/ 2061 h 3466"/>
                <a:gd name="T8" fmla="*/ 3315 w 3722"/>
                <a:gd name="T9" fmla="*/ 2148 h 3466"/>
                <a:gd name="T10" fmla="*/ 3176 w 3722"/>
                <a:gd name="T11" fmla="*/ 2761 h 3466"/>
                <a:gd name="T12" fmla="*/ 2781 w 3722"/>
                <a:gd name="T13" fmla="*/ 3056 h 3466"/>
                <a:gd name="T14" fmla="*/ 1864 w 3722"/>
                <a:gd name="T15" fmla="*/ 3371 h 3466"/>
                <a:gd name="T16" fmla="*/ 1466 w 3722"/>
                <a:gd name="T17" fmla="*/ 3284 h 3466"/>
                <a:gd name="T18" fmla="*/ 441 w 3722"/>
                <a:gd name="T19" fmla="*/ 2492 h 3466"/>
                <a:gd name="T20" fmla="*/ 405 w 3722"/>
                <a:gd name="T21" fmla="*/ 2061 h 3466"/>
                <a:gd name="T22" fmla="*/ 95 w 3722"/>
                <a:gd name="T23" fmla="*/ 1290 h 3466"/>
                <a:gd name="T24" fmla="*/ 333 w 3722"/>
                <a:gd name="T25" fmla="*/ 1072 h 3466"/>
                <a:gd name="T26" fmla="*/ 308 w 3722"/>
                <a:gd name="T27" fmla="*/ 710 h 3466"/>
                <a:gd name="T28" fmla="*/ 728 w 3722"/>
                <a:gd name="T29" fmla="*/ 98 h 3466"/>
                <a:gd name="T30" fmla="*/ 2961 w 3722"/>
                <a:gd name="T31" fmla="*/ 95 h 3466"/>
                <a:gd name="T32" fmla="*/ 772 w 3722"/>
                <a:gd name="T33" fmla="*/ 0 h 3466"/>
                <a:gd name="T34" fmla="*/ 724 w 3722"/>
                <a:gd name="T35" fmla="*/ 3 h 3466"/>
                <a:gd name="T36" fmla="*/ 353 w 3722"/>
                <a:gd name="T37" fmla="*/ 182 h 3466"/>
                <a:gd name="T38" fmla="*/ 210 w 3722"/>
                <a:gd name="T39" fmla="*/ 669 h 3466"/>
                <a:gd name="T40" fmla="*/ 214 w 3722"/>
                <a:gd name="T41" fmla="*/ 726 h 3466"/>
                <a:gd name="T42" fmla="*/ 226 w 3722"/>
                <a:gd name="T43" fmla="*/ 879 h 3466"/>
                <a:gd name="T44" fmla="*/ 233 w 3722"/>
                <a:gd name="T45" fmla="*/ 1056 h 3466"/>
                <a:gd name="T46" fmla="*/ 0 w 3722"/>
                <a:gd name="T47" fmla="*/ 1920 h 3466"/>
                <a:gd name="T48" fmla="*/ 323 w 3722"/>
                <a:gd name="T49" fmla="*/ 2270 h 3466"/>
                <a:gd name="T50" fmla="*/ 336 w 3722"/>
                <a:gd name="T51" fmla="*/ 2421 h 3466"/>
                <a:gd name="T52" fmla="*/ 347 w 3722"/>
                <a:gd name="T53" fmla="*/ 2508 h 3466"/>
                <a:gd name="T54" fmla="*/ 510 w 3722"/>
                <a:gd name="T55" fmla="*/ 2867 h 3466"/>
                <a:gd name="T56" fmla="*/ 805 w 3722"/>
                <a:gd name="T57" fmla="*/ 3099 h 3466"/>
                <a:gd name="T58" fmla="*/ 1432 w 3722"/>
                <a:gd name="T59" fmla="*/ 3373 h 3466"/>
                <a:gd name="T60" fmla="*/ 1606 w 3722"/>
                <a:gd name="T61" fmla="*/ 3438 h 3466"/>
                <a:gd name="T62" fmla="*/ 1864 w 3722"/>
                <a:gd name="T63" fmla="*/ 3466 h 3466"/>
                <a:gd name="T64" fmla="*/ 2248 w 3722"/>
                <a:gd name="T65" fmla="*/ 3394 h 3466"/>
                <a:gd name="T66" fmla="*/ 2819 w 3722"/>
                <a:gd name="T67" fmla="*/ 3143 h 3466"/>
                <a:gd name="T68" fmla="*/ 2832 w 3722"/>
                <a:gd name="T69" fmla="*/ 3138 h 3466"/>
                <a:gd name="T70" fmla="*/ 2855 w 3722"/>
                <a:gd name="T71" fmla="*/ 3129 h 3466"/>
                <a:gd name="T72" fmla="*/ 3255 w 3722"/>
                <a:gd name="T73" fmla="*/ 2815 h 3466"/>
                <a:gd name="T74" fmla="*/ 3392 w 3722"/>
                <a:gd name="T75" fmla="*/ 2398 h 3466"/>
                <a:gd name="T76" fmla="*/ 3405 w 3722"/>
                <a:gd name="T77" fmla="*/ 2232 h 3466"/>
                <a:gd name="T78" fmla="*/ 3409 w 3722"/>
                <a:gd name="T79" fmla="*/ 2156 h 3466"/>
                <a:gd name="T80" fmla="*/ 3722 w 3722"/>
                <a:gd name="T81" fmla="*/ 1290 h 3466"/>
                <a:gd name="T82" fmla="*/ 3489 w 3722"/>
                <a:gd name="T83" fmla="*/ 1056 h 3466"/>
                <a:gd name="T84" fmla="*/ 3511 w 3722"/>
                <a:gd name="T85" fmla="*/ 745 h 3466"/>
                <a:gd name="T86" fmla="*/ 3517 w 3722"/>
                <a:gd name="T87" fmla="*/ 662 h 3466"/>
                <a:gd name="T88" fmla="*/ 3520 w 3722"/>
                <a:gd name="T89" fmla="*/ 511 h 3466"/>
                <a:gd name="T90" fmla="*/ 3337 w 3722"/>
                <a:gd name="T91" fmla="*/ 145 h 34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722" h="3466">
                  <a:moveTo>
                    <a:pt x="2961" y="95"/>
                  </a:moveTo>
                  <a:cubicBezTo>
                    <a:pt x="3076" y="95"/>
                    <a:pt x="3186" y="139"/>
                    <a:pt x="3274" y="216"/>
                  </a:cubicBezTo>
                  <a:cubicBezTo>
                    <a:pt x="3361" y="295"/>
                    <a:pt x="3415" y="403"/>
                    <a:pt x="3425" y="518"/>
                  </a:cubicBezTo>
                  <a:cubicBezTo>
                    <a:pt x="3427" y="564"/>
                    <a:pt x="3425" y="605"/>
                    <a:pt x="3422" y="644"/>
                  </a:cubicBezTo>
                  <a:cubicBezTo>
                    <a:pt x="3422" y="649"/>
                    <a:pt x="3422" y="657"/>
                    <a:pt x="3422" y="662"/>
                  </a:cubicBezTo>
                  <a:cubicBezTo>
                    <a:pt x="3417" y="716"/>
                    <a:pt x="3415" y="767"/>
                    <a:pt x="3409" y="818"/>
                  </a:cubicBezTo>
                  <a:cubicBezTo>
                    <a:pt x="3409" y="841"/>
                    <a:pt x="3407" y="864"/>
                    <a:pt x="3404" y="887"/>
                  </a:cubicBezTo>
                  <a:cubicBezTo>
                    <a:pt x="3404" y="910"/>
                    <a:pt x="3397" y="1010"/>
                    <a:pt x="3386" y="1151"/>
                  </a:cubicBezTo>
                  <a:cubicBezTo>
                    <a:pt x="3386" y="1151"/>
                    <a:pt x="3386" y="1151"/>
                    <a:pt x="3489" y="1151"/>
                  </a:cubicBezTo>
                  <a:cubicBezTo>
                    <a:pt x="3566" y="1151"/>
                    <a:pt x="3627" y="1213"/>
                    <a:pt x="3627" y="1290"/>
                  </a:cubicBezTo>
                  <a:cubicBezTo>
                    <a:pt x="3627" y="1290"/>
                    <a:pt x="3627" y="1290"/>
                    <a:pt x="3627" y="1920"/>
                  </a:cubicBezTo>
                  <a:cubicBezTo>
                    <a:pt x="3627" y="1997"/>
                    <a:pt x="3566" y="2061"/>
                    <a:pt x="3489" y="2061"/>
                  </a:cubicBezTo>
                  <a:cubicBezTo>
                    <a:pt x="3489" y="2061"/>
                    <a:pt x="3489" y="2061"/>
                    <a:pt x="3320" y="2061"/>
                  </a:cubicBezTo>
                  <a:cubicBezTo>
                    <a:pt x="3320" y="2061"/>
                    <a:pt x="3320" y="2061"/>
                    <a:pt x="3317" y="2095"/>
                  </a:cubicBezTo>
                  <a:cubicBezTo>
                    <a:pt x="3317" y="2113"/>
                    <a:pt x="3317" y="2131"/>
                    <a:pt x="3315" y="2148"/>
                  </a:cubicBezTo>
                  <a:cubicBezTo>
                    <a:pt x="3312" y="2174"/>
                    <a:pt x="3309" y="2202"/>
                    <a:pt x="3309" y="2228"/>
                  </a:cubicBezTo>
                  <a:cubicBezTo>
                    <a:pt x="3304" y="2287"/>
                    <a:pt x="3299" y="2341"/>
                    <a:pt x="3297" y="2395"/>
                  </a:cubicBezTo>
                  <a:cubicBezTo>
                    <a:pt x="3294" y="2520"/>
                    <a:pt x="3250" y="2648"/>
                    <a:pt x="3176" y="2761"/>
                  </a:cubicBezTo>
                  <a:cubicBezTo>
                    <a:pt x="3109" y="2859"/>
                    <a:pt x="3022" y="2941"/>
                    <a:pt x="2933" y="2987"/>
                  </a:cubicBezTo>
                  <a:cubicBezTo>
                    <a:pt x="2892" y="3010"/>
                    <a:pt x="2853" y="3025"/>
                    <a:pt x="2815" y="3043"/>
                  </a:cubicBezTo>
                  <a:cubicBezTo>
                    <a:pt x="2802" y="3048"/>
                    <a:pt x="2792" y="3051"/>
                    <a:pt x="2781" y="3056"/>
                  </a:cubicBezTo>
                  <a:cubicBezTo>
                    <a:pt x="2581" y="3143"/>
                    <a:pt x="2379" y="3233"/>
                    <a:pt x="2210" y="3307"/>
                  </a:cubicBezTo>
                  <a:cubicBezTo>
                    <a:pt x="2138" y="3338"/>
                    <a:pt x="2061" y="3358"/>
                    <a:pt x="1971" y="3366"/>
                  </a:cubicBezTo>
                  <a:cubicBezTo>
                    <a:pt x="1935" y="3371"/>
                    <a:pt x="1897" y="3371"/>
                    <a:pt x="1864" y="3371"/>
                  </a:cubicBezTo>
                  <a:cubicBezTo>
                    <a:pt x="1784" y="3371"/>
                    <a:pt x="1705" y="3364"/>
                    <a:pt x="1630" y="3346"/>
                  </a:cubicBezTo>
                  <a:cubicBezTo>
                    <a:pt x="1571" y="3330"/>
                    <a:pt x="1520" y="3307"/>
                    <a:pt x="1474" y="3287"/>
                  </a:cubicBezTo>
                  <a:cubicBezTo>
                    <a:pt x="1474" y="3287"/>
                    <a:pt x="1474" y="3287"/>
                    <a:pt x="1466" y="3284"/>
                  </a:cubicBezTo>
                  <a:cubicBezTo>
                    <a:pt x="1233" y="3184"/>
                    <a:pt x="1031" y="3094"/>
                    <a:pt x="843" y="3012"/>
                  </a:cubicBezTo>
                  <a:cubicBezTo>
                    <a:pt x="746" y="2969"/>
                    <a:pt x="659" y="2900"/>
                    <a:pt x="584" y="2807"/>
                  </a:cubicBezTo>
                  <a:cubicBezTo>
                    <a:pt x="505" y="2705"/>
                    <a:pt x="459" y="2602"/>
                    <a:pt x="441" y="2492"/>
                  </a:cubicBezTo>
                  <a:cubicBezTo>
                    <a:pt x="436" y="2464"/>
                    <a:pt x="433" y="2438"/>
                    <a:pt x="431" y="2413"/>
                  </a:cubicBezTo>
                  <a:cubicBezTo>
                    <a:pt x="431" y="2413"/>
                    <a:pt x="431" y="2413"/>
                    <a:pt x="418" y="2269"/>
                  </a:cubicBezTo>
                  <a:cubicBezTo>
                    <a:pt x="418" y="2261"/>
                    <a:pt x="413" y="2179"/>
                    <a:pt x="405" y="2061"/>
                  </a:cubicBezTo>
                  <a:cubicBezTo>
                    <a:pt x="405" y="2061"/>
                    <a:pt x="405" y="2061"/>
                    <a:pt x="233" y="2061"/>
                  </a:cubicBezTo>
                  <a:cubicBezTo>
                    <a:pt x="156" y="2061"/>
                    <a:pt x="95" y="1997"/>
                    <a:pt x="95" y="1920"/>
                  </a:cubicBezTo>
                  <a:cubicBezTo>
                    <a:pt x="95" y="1920"/>
                    <a:pt x="95" y="1920"/>
                    <a:pt x="95" y="1290"/>
                  </a:cubicBezTo>
                  <a:cubicBezTo>
                    <a:pt x="95" y="1213"/>
                    <a:pt x="156" y="1151"/>
                    <a:pt x="233" y="1151"/>
                  </a:cubicBezTo>
                  <a:cubicBezTo>
                    <a:pt x="233" y="1151"/>
                    <a:pt x="233" y="1151"/>
                    <a:pt x="341" y="1151"/>
                  </a:cubicBezTo>
                  <a:cubicBezTo>
                    <a:pt x="336" y="1105"/>
                    <a:pt x="336" y="1074"/>
                    <a:pt x="333" y="1072"/>
                  </a:cubicBezTo>
                  <a:cubicBezTo>
                    <a:pt x="333" y="1072"/>
                    <a:pt x="333" y="1072"/>
                    <a:pt x="328" y="985"/>
                  </a:cubicBezTo>
                  <a:cubicBezTo>
                    <a:pt x="323" y="910"/>
                    <a:pt x="318" y="833"/>
                    <a:pt x="313" y="759"/>
                  </a:cubicBezTo>
                  <a:cubicBezTo>
                    <a:pt x="310" y="744"/>
                    <a:pt x="310" y="726"/>
                    <a:pt x="308" y="710"/>
                  </a:cubicBezTo>
                  <a:cubicBezTo>
                    <a:pt x="305" y="662"/>
                    <a:pt x="300" y="616"/>
                    <a:pt x="300" y="564"/>
                  </a:cubicBezTo>
                  <a:cubicBezTo>
                    <a:pt x="300" y="446"/>
                    <a:pt x="343" y="334"/>
                    <a:pt x="423" y="246"/>
                  </a:cubicBezTo>
                  <a:cubicBezTo>
                    <a:pt x="502" y="162"/>
                    <a:pt x="610" y="108"/>
                    <a:pt x="728" y="98"/>
                  </a:cubicBezTo>
                  <a:cubicBezTo>
                    <a:pt x="743" y="98"/>
                    <a:pt x="756" y="95"/>
                    <a:pt x="772" y="95"/>
                  </a:cubicBezTo>
                  <a:cubicBezTo>
                    <a:pt x="1436" y="95"/>
                    <a:pt x="2097" y="95"/>
                    <a:pt x="2761" y="95"/>
                  </a:cubicBezTo>
                  <a:cubicBezTo>
                    <a:pt x="2761" y="95"/>
                    <a:pt x="2761" y="95"/>
                    <a:pt x="2961" y="95"/>
                  </a:cubicBezTo>
                  <a:moveTo>
                    <a:pt x="2961" y="0"/>
                  </a:moveTo>
                  <a:cubicBezTo>
                    <a:pt x="2761" y="0"/>
                    <a:pt x="2761" y="0"/>
                    <a:pt x="2761" y="0"/>
                  </a:cubicBezTo>
                  <a:cubicBezTo>
                    <a:pt x="772" y="0"/>
                    <a:pt x="772" y="0"/>
                    <a:pt x="772" y="0"/>
                  </a:cubicBezTo>
                  <a:cubicBezTo>
                    <a:pt x="760" y="0"/>
                    <a:pt x="749" y="1"/>
                    <a:pt x="741" y="2"/>
                  </a:cubicBezTo>
                  <a:cubicBezTo>
                    <a:pt x="736" y="2"/>
                    <a:pt x="731" y="3"/>
                    <a:pt x="728" y="3"/>
                  </a:cubicBezTo>
                  <a:cubicBezTo>
                    <a:pt x="724" y="3"/>
                    <a:pt x="724" y="3"/>
                    <a:pt x="724" y="3"/>
                  </a:cubicBezTo>
                  <a:cubicBezTo>
                    <a:pt x="720" y="3"/>
                    <a:pt x="720" y="3"/>
                    <a:pt x="720" y="3"/>
                  </a:cubicBezTo>
                  <a:cubicBezTo>
                    <a:pt x="580" y="15"/>
                    <a:pt x="450" y="78"/>
                    <a:pt x="354" y="181"/>
                  </a:cubicBezTo>
                  <a:cubicBezTo>
                    <a:pt x="353" y="182"/>
                    <a:pt x="353" y="182"/>
                    <a:pt x="353" y="182"/>
                  </a:cubicBezTo>
                  <a:cubicBezTo>
                    <a:pt x="353" y="182"/>
                    <a:pt x="353" y="182"/>
                    <a:pt x="353" y="182"/>
                  </a:cubicBezTo>
                  <a:cubicBezTo>
                    <a:pt x="257" y="287"/>
                    <a:pt x="205" y="423"/>
                    <a:pt x="205" y="564"/>
                  </a:cubicBezTo>
                  <a:cubicBezTo>
                    <a:pt x="205" y="602"/>
                    <a:pt x="207" y="636"/>
                    <a:pt x="210" y="669"/>
                  </a:cubicBezTo>
                  <a:cubicBezTo>
                    <a:pt x="211" y="685"/>
                    <a:pt x="212" y="700"/>
                    <a:pt x="213" y="715"/>
                  </a:cubicBezTo>
                  <a:cubicBezTo>
                    <a:pt x="213" y="721"/>
                    <a:pt x="213" y="721"/>
                    <a:pt x="213" y="721"/>
                  </a:cubicBezTo>
                  <a:cubicBezTo>
                    <a:pt x="214" y="726"/>
                    <a:pt x="214" y="726"/>
                    <a:pt x="214" y="726"/>
                  </a:cubicBezTo>
                  <a:cubicBezTo>
                    <a:pt x="214" y="730"/>
                    <a:pt x="215" y="736"/>
                    <a:pt x="215" y="742"/>
                  </a:cubicBezTo>
                  <a:cubicBezTo>
                    <a:pt x="216" y="750"/>
                    <a:pt x="217" y="760"/>
                    <a:pt x="218" y="770"/>
                  </a:cubicBezTo>
                  <a:cubicBezTo>
                    <a:pt x="221" y="806"/>
                    <a:pt x="223" y="842"/>
                    <a:pt x="226" y="879"/>
                  </a:cubicBezTo>
                  <a:cubicBezTo>
                    <a:pt x="228" y="916"/>
                    <a:pt x="231" y="954"/>
                    <a:pt x="233" y="991"/>
                  </a:cubicBezTo>
                  <a:cubicBezTo>
                    <a:pt x="237" y="1056"/>
                    <a:pt x="237" y="1056"/>
                    <a:pt x="237" y="1056"/>
                  </a:cubicBezTo>
                  <a:cubicBezTo>
                    <a:pt x="233" y="1056"/>
                    <a:pt x="233" y="1056"/>
                    <a:pt x="233" y="1056"/>
                  </a:cubicBezTo>
                  <a:cubicBezTo>
                    <a:pt x="171" y="1056"/>
                    <a:pt x="112" y="1080"/>
                    <a:pt x="68" y="1124"/>
                  </a:cubicBezTo>
                  <a:cubicBezTo>
                    <a:pt x="24" y="1168"/>
                    <a:pt x="0" y="1227"/>
                    <a:pt x="0" y="1290"/>
                  </a:cubicBezTo>
                  <a:cubicBezTo>
                    <a:pt x="0" y="1920"/>
                    <a:pt x="0" y="1920"/>
                    <a:pt x="0" y="1920"/>
                  </a:cubicBezTo>
                  <a:cubicBezTo>
                    <a:pt x="0" y="2051"/>
                    <a:pt x="104" y="2156"/>
                    <a:pt x="233" y="2156"/>
                  </a:cubicBezTo>
                  <a:cubicBezTo>
                    <a:pt x="316" y="2156"/>
                    <a:pt x="316" y="2156"/>
                    <a:pt x="316" y="2156"/>
                  </a:cubicBezTo>
                  <a:cubicBezTo>
                    <a:pt x="322" y="2246"/>
                    <a:pt x="323" y="2266"/>
                    <a:pt x="323" y="2270"/>
                  </a:cubicBezTo>
                  <a:cubicBezTo>
                    <a:pt x="323" y="2273"/>
                    <a:pt x="323" y="2273"/>
                    <a:pt x="323" y="2273"/>
                  </a:cubicBezTo>
                  <a:cubicBezTo>
                    <a:pt x="323" y="2277"/>
                    <a:pt x="323" y="2277"/>
                    <a:pt x="323" y="2277"/>
                  </a:cubicBezTo>
                  <a:cubicBezTo>
                    <a:pt x="336" y="2421"/>
                    <a:pt x="336" y="2421"/>
                    <a:pt x="336" y="2421"/>
                  </a:cubicBezTo>
                  <a:cubicBezTo>
                    <a:pt x="336" y="2421"/>
                    <a:pt x="336" y="2421"/>
                    <a:pt x="336" y="2421"/>
                  </a:cubicBezTo>
                  <a:cubicBezTo>
                    <a:pt x="336" y="2422"/>
                    <a:pt x="336" y="2422"/>
                    <a:pt x="336" y="2422"/>
                  </a:cubicBezTo>
                  <a:cubicBezTo>
                    <a:pt x="339" y="2449"/>
                    <a:pt x="341" y="2477"/>
                    <a:pt x="347" y="2508"/>
                  </a:cubicBezTo>
                  <a:cubicBezTo>
                    <a:pt x="368" y="2635"/>
                    <a:pt x="421" y="2752"/>
                    <a:pt x="509" y="2866"/>
                  </a:cubicBezTo>
                  <a:cubicBezTo>
                    <a:pt x="510" y="2866"/>
                    <a:pt x="510" y="2866"/>
                    <a:pt x="510" y="2866"/>
                  </a:cubicBezTo>
                  <a:cubicBezTo>
                    <a:pt x="510" y="2867"/>
                    <a:pt x="510" y="2867"/>
                    <a:pt x="510" y="2867"/>
                  </a:cubicBezTo>
                  <a:cubicBezTo>
                    <a:pt x="595" y="2971"/>
                    <a:pt x="693" y="3049"/>
                    <a:pt x="805" y="3099"/>
                  </a:cubicBezTo>
                  <a:cubicBezTo>
                    <a:pt x="805" y="3099"/>
                    <a:pt x="805" y="3099"/>
                    <a:pt x="805" y="3099"/>
                  </a:cubicBezTo>
                  <a:cubicBezTo>
                    <a:pt x="805" y="3099"/>
                    <a:pt x="805" y="3099"/>
                    <a:pt x="805" y="3099"/>
                  </a:cubicBezTo>
                  <a:cubicBezTo>
                    <a:pt x="847" y="3118"/>
                    <a:pt x="889" y="3136"/>
                    <a:pt x="932" y="3155"/>
                  </a:cubicBezTo>
                  <a:cubicBezTo>
                    <a:pt x="1087" y="3223"/>
                    <a:pt x="1247" y="3294"/>
                    <a:pt x="1429" y="3372"/>
                  </a:cubicBezTo>
                  <a:cubicBezTo>
                    <a:pt x="1432" y="3373"/>
                    <a:pt x="1432" y="3373"/>
                    <a:pt x="1432" y="3373"/>
                  </a:cubicBezTo>
                  <a:cubicBezTo>
                    <a:pt x="1436" y="3374"/>
                    <a:pt x="1436" y="3374"/>
                    <a:pt x="1436" y="3374"/>
                  </a:cubicBezTo>
                  <a:cubicBezTo>
                    <a:pt x="1440" y="3375"/>
                    <a:pt x="1440" y="3375"/>
                    <a:pt x="1440" y="3375"/>
                  </a:cubicBezTo>
                  <a:cubicBezTo>
                    <a:pt x="1487" y="3397"/>
                    <a:pt x="1542" y="3421"/>
                    <a:pt x="1606" y="3438"/>
                  </a:cubicBezTo>
                  <a:cubicBezTo>
                    <a:pt x="1607" y="3438"/>
                    <a:pt x="1607" y="3438"/>
                    <a:pt x="1607" y="3438"/>
                  </a:cubicBezTo>
                  <a:cubicBezTo>
                    <a:pt x="1608" y="3438"/>
                    <a:pt x="1608" y="3438"/>
                    <a:pt x="1608" y="3438"/>
                  </a:cubicBezTo>
                  <a:cubicBezTo>
                    <a:pt x="1686" y="3457"/>
                    <a:pt x="1772" y="3466"/>
                    <a:pt x="1864" y="3466"/>
                  </a:cubicBezTo>
                  <a:cubicBezTo>
                    <a:pt x="1898" y="3466"/>
                    <a:pt x="1940" y="3466"/>
                    <a:pt x="1982" y="3461"/>
                  </a:cubicBezTo>
                  <a:cubicBezTo>
                    <a:pt x="2076" y="3452"/>
                    <a:pt x="2163" y="3431"/>
                    <a:pt x="2247" y="3395"/>
                  </a:cubicBezTo>
                  <a:cubicBezTo>
                    <a:pt x="2248" y="3394"/>
                    <a:pt x="2248" y="3394"/>
                    <a:pt x="2248" y="3394"/>
                  </a:cubicBezTo>
                  <a:cubicBezTo>
                    <a:pt x="2248" y="3394"/>
                    <a:pt x="2248" y="3394"/>
                    <a:pt x="2248" y="3394"/>
                  </a:cubicBezTo>
                  <a:cubicBezTo>
                    <a:pt x="2303" y="3370"/>
                    <a:pt x="2362" y="3344"/>
                    <a:pt x="2423" y="3317"/>
                  </a:cubicBezTo>
                  <a:cubicBezTo>
                    <a:pt x="2552" y="3260"/>
                    <a:pt x="2685" y="3202"/>
                    <a:pt x="2819" y="3143"/>
                  </a:cubicBezTo>
                  <a:cubicBezTo>
                    <a:pt x="2822" y="3142"/>
                    <a:pt x="2822" y="3142"/>
                    <a:pt x="2822" y="3142"/>
                  </a:cubicBezTo>
                  <a:cubicBezTo>
                    <a:pt x="2824" y="3141"/>
                    <a:pt x="2824" y="3141"/>
                    <a:pt x="2824" y="3141"/>
                  </a:cubicBezTo>
                  <a:cubicBezTo>
                    <a:pt x="2825" y="3141"/>
                    <a:pt x="2829" y="3139"/>
                    <a:pt x="2832" y="3138"/>
                  </a:cubicBezTo>
                  <a:cubicBezTo>
                    <a:pt x="2837" y="3136"/>
                    <a:pt x="2843" y="3134"/>
                    <a:pt x="2850" y="3131"/>
                  </a:cubicBezTo>
                  <a:cubicBezTo>
                    <a:pt x="2852" y="3130"/>
                    <a:pt x="2852" y="3130"/>
                    <a:pt x="2852" y="3130"/>
                  </a:cubicBezTo>
                  <a:cubicBezTo>
                    <a:pt x="2855" y="3129"/>
                    <a:pt x="2855" y="3129"/>
                    <a:pt x="2855" y="3129"/>
                  </a:cubicBezTo>
                  <a:cubicBezTo>
                    <a:pt x="2865" y="3125"/>
                    <a:pt x="2875" y="3120"/>
                    <a:pt x="2886" y="3115"/>
                  </a:cubicBezTo>
                  <a:cubicBezTo>
                    <a:pt x="2915" y="3102"/>
                    <a:pt x="2945" y="3089"/>
                    <a:pt x="2978" y="3070"/>
                  </a:cubicBezTo>
                  <a:cubicBezTo>
                    <a:pt x="3080" y="3018"/>
                    <a:pt x="3178" y="2927"/>
                    <a:pt x="3255" y="2815"/>
                  </a:cubicBezTo>
                  <a:cubicBezTo>
                    <a:pt x="3255" y="2814"/>
                    <a:pt x="3255" y="2814"/>
                    <a:pt x="3255" y="2814"/>
                  </a:cubicBezTo>
                  <a:cubicBezTo>
                    <a:pt x="3256" y="2813"/>
                    <a:pt x="3256" y="2813"/>
                    <a:pt x="3256" y="2813"/>
                  </a:cubicBezTo>
                  <a:cubicBezTo>
                    <a:pt x="3341" y="2683"/>
                    <a:pt x="3388" y="2539"/>
                    <a:pt x="3392" y="2398"/>
                  </a:cubicBezTo>
                  <a:cubicBezTo>
                    <a:pt x="3394" y="2354"/>
                    <a:pt x="3398" y="2310"/>
                    <a:pt x="3402" y="2262"/>
                  </a:cubicBezTo>
                  <a:cubicBezTo>
                    <a:pt x="3403" y="2254"/>
                    <a:pt x="3403" y="2245"/>
                    <a:pt x="3404" y="2236"/>
                  </a:cubicBezTo>
                  <a:cubicBezTo>
                    <a:pt x="3405" y="2232"/>
                    <a:pt x="3405" y="2232"/>
                    <a:pt x="3405" y="2232"/>
                  </a:cubicBezTo>
                  <a:cubicBezTo>
                    <a:pt x="3405" y="2228"/>
                    <a:pt x="3405" y="2228"/>
                    <a:pt x="3405" y="2228"/>
                  </a:cubicBezTo>
                  <a:cubicBezTo>
                    <a:pt x="3405" y="2207"/>
                    <a:pt x="3407" y="2182"/>
                    <a:pt x="3409" y="2160"/>
                  </a:cubicBezTo>
                  <a:cubicBezTo>
                    <a:pt x="3409" y="2159"/>
                    <a:pt x="3409" y="2158"/>
                    <a:pt x="3409" y="2156"/>
                  </a:cubicBezTo>
                  <a:cubicBezTo>
                    <a:pt x="3489" y="2156"/>
                    <a:pt x="3489" y="2156"/>
                    <a:pt x="3489" y="2156"/>
                  </a:cubicBezTo>
                  <a:cubicBezTo>
                    <a:pt x="3618" y="2156"/>
                    <a:pt x="3722" y="2051"/>
                    <a:pt x="3722" y="1920"/>
                  </a:cubicBezTo>
                  <a:cubicBezTo>
                    <a:pt x="3722" y="1290"/>
                    <a:pt x="3722" y="1290"/>
                    <a:pt x="3722" y="1290"/>
                  </a:cubicBezTo>
                  <a:cubicBezTo>
                    <a:pt x="3722" y="1227"/>
                    <a:pt x="3698" y="1168"/>
                    <a:pt x="3654" y="1124"/>
                  </a:cubicBezTo>
                  <a:cubicBezTo>
                    <a:pt x="3610" y="1080"/>
                    <a:pt x="3551" y="1056"/>
                    <a:pt x="3489" y="1056"/>
                  </a:cubicBezTo>
                  <a:cubicBezTo>
                    <a:pt x="3489" y="1056"/>
                    <a:pt x="3489" y="1056"/>
                    <a:pt x="3489" y="1056"/>
                  </a:cubicBezTo>
                  <a:cubicBezTo>
                    <a:pt x="3495" y="964"/>
                    <a:pt x="3499" y="916"/>
                    <a:pt x="3499" y="893"/>
                  </a:cubicBezTo>
                  <a:cubicBezTo>
                    <a:pt x="3502" y="871"/>
                    <a:pt x="3504" y="848"/>
                    <a:pt x="3504" y="823"/>
                  </a:cubicBezTo>
                  <a:cubicBezTo>
                    <a:pt x="3507" y="797"/>
                    <a:pt x="3509" y="770"/>
                    <a:pt x="3511" y="745"/>
                  </a:cubicBezTo>
                  <a:cubicBezTo>
                    <a:pt x="3513" y="721"/>
                    <a:pt x="3515" y="696"/>
                    <a:pt x="3517" y="671"/>
                  </a:cubicBezTo>
                  <a:cubicBezTo>
                    <a:pt x="3517" y="666"/>
                    <a:pt x="3517" y="666"/>
                    <a:pt x="3517" y="666"/>
                  </a:cubicBezTo>
                  <a:cubicBezTo>
                    <a:pt x="3517" y="662"/>
                    <a:pt x="3517" y="662"/>
                    <a:pt x="3517" y="662"/>
                  </a:cubicBezTo>
                  <a:cubicBezTo>
                    <a:pt x="3517" y="647"/>
                    <a:pt x="3517" y="647"/>
                    <a:pt x="3517" y="647"/>
                  </a:cubicBezTo>
                  <a:cubicBezTo>
                    <a:pt x="3520" y="610"/>
                    <a:pt x="3523" y="565"/>
                    <a:pt x="3520" y="513"/>
                  </a:cubicBezTo>
                  <a:cubicBezTo>
                    <a:pt x="3520" y="511"/>
                    <a:pt x="3520" y="511"/>
                    <a:pt x="3520" y="511"/>
                  </a:cubicBezTo>
                  <a:cubicBezTo>
                    <a:pt x="3520" y="510"/>
                    <a:pt x="3520" y="510"/>
                    <a:pt x="3520" y="510"/>
                  </a:cubicBezTo>
                  <a:cubicBezTo>
                    <a:pt x="3507" y="370"/>
                    <a:pt x="3443" y="241"/>
                    <a:pt x="3338" y="145"/>
                  </a:cubicBezTo>
                  <a:cubicBezTo>
                    <a:pt x="3337" y="145"/>
                    <a:pt x="3337" y="145"/>
                    <a:pt x="3337" y="145"/>
                  </a:cubicBezTo>
                  <a:cubicBezTo>
                    <a:pt x="3336" y="144"/>
                    <a:pt x="3336" y="144"/>
                    <a:pt x="3336" y="144"/>
                  </a:cubicBezTo>
                  <a:cubicBezTo>
                    <a:pt x="3231" y="51"/>
                    <a:pt x="3098" y="0"/>
                    <a:pt x="2961" y="0"/>
                  </a:cubicBezTo>
                  <a:close/>
                </a:path>
              </a:pathLst>
            </a:custGeom>
            <a:solidFill>
              <a:srgbClr val="E8E8E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" name="Freeform 7"/>
            <p:cNvSpPr>
              <a:spLocks/>
            </p:cNvSpPr>
            <p:nvPr/>
          </p:nvSpPr>
          <p:spPr bwMode="auto">
            <a:xfrm>
              <a:off x="191" y="3688"/>
              <a:ext cx="465" cy="150"/>
            </a:xfrm>
            <a:custGeom>
              <a:avLst/>
              <a:gdLst>
                <a:gd name="T0" fmla="*/ 126 w 2823"/>
                <a:gd name="T1" fmla="*/ 654 h 900"/>
                <a:gd name="T2" fmla="*/ 141 w 2823"/>
                <a:gd name="T3" fmla="*/ 900 h 900"/>
                <a:gd name="T4" fmla="*/ 44 w 2823"/>
                <a:gd name="T5" fmla="*/ 900 h 900"/>
                <a:gd name="T6" fmla="*/ 36 w 2823"/>
                <a:gd name="T7" fmla="*/ 810 h 900"/>
                <a:gd name="T8" fmla="*/ 16 w 2823"/>
                <a:gd name="T9" fmla="*/ 500 h 900"/>
                <a:gd name="T10" fmla="*/ 3 w 2823"/>
                <a:gd name="T11" fmla="*/ 315 h 900"/>
                <a:gd name="T12" fmla="*/ 290 w 2823"/>
                <a:gd name="T13" fmla="*/ 3 h 900"/>
                <a:gd name="T14" fmla="*/ 321 w 2823"/>
                <a:gd name="T15" fmla="*/ 0 h 900"/>
                <a:gd name="T16" fmla="*/ 2510 w 2823"/>
                <a:gd name="T17" fmla="*/ 0 h 900"/>
                <a:gd name="T18" fmla="*/ 2820 w 2823"/>
                <a:gd name="T19" fmla="*/ 282 h 900"/>
                <a:gd name="T20" fmla="*/ 2817 w 2823"/>
                <a:gd name="T21" fmla="*/ 402 h 900"/>
                <a:gd name="T22" fmla="*/ 2802 w 2823"/>
                <a:gd name="T23" fmla="*/ 625 h 900"/>
                <a:gd name="T24" fmla="*/ 2782 w 2823"/>
                <a:gd name="T25" fmla="*/ 900 h 900"/>
                <a:gd name="T26" fmla="*/ 2682 w 2823"/>
                <a:gd name="T27" fmla="*/ 900 h 900"/>
                <a:gd name="T28" fmla="*/ 2699 w 2823"/>
                <a:gd name="T29" fmla="*/ 654 h 900"/>
                <a:gd name="T30" fmla="*/ 126 w 2823"/>
                <a:gd name="T31" fmla="*/ 654 h 9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23" h="900">
                  <a:moveTo>
                    <a:pt x="126" y="654"/>
                  </a:moveTo>
                  <a:cubicBezTo>
                    <a:pt x="131" y="736"/>
                    <a:pt x="136" y="818"/>
                    <a:pt x="141" y="900"/>
                  </a:cubicBezTo>
                  <a:cubicBezTo>
                    <a:pt x="108" y="900"/>
                    <a:pt x="77" y="900"/>
                    <a:pt x="44" y="900"/>
                  </a:cubicBezTo>
                  <a:cubicBezTo>
                    <a:pt x="41" y="872"/>
                    <a:pt x="39" y="841"/>
                    <a:pt x="36" y="810"/>
                  </a:cubicBezTo>
                  <a:cubicBezTo>
                    <a:pt x="28" y="707"/>
                    <a:pt x="21" y="602"/>
                    <a:pt x="16" y="500"/>
                  </a:cubicBezTo>
                  <a:cubicBezTo>
                    <a:pt x="10" y="438"/>
                    <a:pt x="3" y="377"/>
                    <a:pt x="3" y="315"/>
                  </a:cubicBezTo>
                  <a:cubicBezTo>
                    <a:pt x="0" y="151"/>
                    <a:pt x="126" y="15"/>
                    <a:pt x="290" y="3"/>
                  </a:cubicBezTo>
                  <a:cubicBezTo>
                    <a:pt x="300" y="0"/>
                    <a:pt x="310" y="0"/>
                    <a:pt x="321" y="0"/>
                  </a:cubicBezTo>
                  <a:cubicBezTo>
                    <a:pt x="1051" y="0"/>
                    <a:pt x="1779" y="0"/>
                    <a:pt x="2510" y="0"/>
                  </a:cubicBezTo>
                  <a:cubicBezTo>
                    <a:pt x="2669" y="0"/>
                    <a:pt x="2807" y="123"/>
                    <a:pt x="2820" y="282"/>
                  </a:cubicBezTo>
                  <a:cubicBezTo>
                    <a:pt x="2823" y="323"/>
                    <a:pt x="2820" y="364"/>
                    <a:pt x="2817" y="402"/>
                  </a:cubicBezTo>
                  <a:cubicBezTo>
                    <a:pt x="2812" y="477"/>
                    <a:pt x="2807" y="551"/>
                    <a:pt x="2802" y="625"/>
                  </a:cubicBezTo>
                  <a:cubicBezTo>
                    <a:pt x="2794" y="718"/>
                    <a:pt x="2787" y="807"/>
                    <a:pt x="2782" y="900"/>
                  </a:cubicBezTo>
                  <a:cubicBezTo>
                    <a:pt x="2748" y="900"/>
                    <a:pt x="2715" y="900"/>
                    <a:pt x="2682" y="900"/>
                  </a:cubicBezTo>
                  <a:cubicBezTo>
                    <a:pt x="2689" y="818"/>
                    <a:pt x="2694" y="736"/>
                    <a:pt x="2699" y="654"/>
                  </a:cubicBezTo>
                  <a:cubicBezTo>
                    <a:pt x="1841" y="654"/>
                    <a:pt x="985" y="654"/>
                    <a:pt x="126" y="654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" name="Freeform 8"/>
            <p:cNvSpPr>
              <a:spLocks/>
            </p:cNvSpPr>
            <p:nvPr/>
          </p:nvSpPr>
          <p:spPr bwMode="auto">
            <a:xfrm>
              <a:off x="209" y="3990"/>
              <a:ext cx="430" cy="194"/>
            </a:xfrm>
            <a:custGeom>
              <a:avLst/>
              <a:gdLst>
                <a:gd name="T0" fmla="*/ 0 w 2605"/>
                <a:gd name="T1" fmla="*/ 0 h 1162"/>
                <a:gd name="T2" fmla="*/ 98 w 2605"/>
                <a:gd name="T3" fmla="*/ 0 h 1162"/>
                <a:gd name="T4" fmla="*/ 100 w 2605"/>
                <a:gd name="T5" fmla="*/ 46 h 1162"/>
                <a:gd name="T6" fmla="*/ 123 w 2605"/>
                <a:gd name="T7" fmla="*/ 357 h 1162"/>
                <a:gd name="T8" fmla="*/ 190 w 2605"/>
                <a:gd name="T9" fmla="*/ 544 h 1162"/>
                <a:gd name="T10" fmla="*/ 364 w 2605"/>
                <a:gd name="T11" fmla="*/ 710 h 1162"/>
                <a:gd name="T12" fmla="*/ 521 w 2605"/>
                <a:gd name="T13" fmla="*/ 780 h 1162"/>
                <a:gd name="T14" fmla="*/ 1054 w 2605"/>
                <a:gd name="T15" fmla="*/ 1013 h 1162"/>
                <a:gd name="T16" fmla="*/ 1223 w 2605"/>
                <a:gd name="T17" fmla="*/ 1054 h 1162"/>
                <a:gd name="T18" fmla="*/ 1485 w 2605"/>
                <a:gd name="T19" fmla="*/ 1036 h 1162"/>
                <a:gd name="T20" fmla="*/ 1610 w 2605"/>
                <a:gd name="T21" fmla="*/ 987 h 1162"/>
                <a:gd name="T22" fmla="*/ 2220 w 2605"/>
                <a:gd name="T23" fmla="*/ 721 h 1162"/>
                <a:gd name="T24" fmla="*/ 2387 w 2605"/>
                <a:gd name="T25" fmla="*/ 585 h 1162"/>
                <a:gd name="T26" fmla="*/ 2477 w 2605"/>
                <a:gd name="T27" fmla="*/ 393 h 1162"/>
                <a:gd name="T28" fmla="*/ 2487 w 2605"/>
                <a:gd name="T29" fmla="*/ 287 h 1162"/>
                <a:gd name="T30" fmla="*/ 2505 w 2605"/>
                <a:gd name="T31" fmla="*/ 8 h 1162"/>
                <a:gd name="T32" fmla="*/ 2507 w 2605"/>
                <a:gd name="T33" fmla="*/ 0 h 1162"/>
                <a:gd name="T34" fmla="*/ 2605 w 2605"/>
                <a:gd name="T35" fmla="*/ 0 h 1162"/>
                <a:gd name="T36" fmla="*/ 2600 w 2605"/>
                <a:gd name="T37" fmla="*/ 75 h 1162"/>
                <a:gd name="T38" fmla="*/ 2582 w 2605"/>
                <a:gd name="T39" fmla="*/ 328 h 1162"/>
                <a:gd name="T40" fmla="*/ 2300 w 2605"/>
                <a:gd name="T41" fmla="*/ 790 h 1162"/>
                <a:gd name="T42" fmla="*/ 2159 w 2605"/>
                <a:gd name="T43" fmla="*/ 854 h 1162"/>
                <a:gd name="T44" fmla="*/ 1587 w 2605"/>
                <a:gd name="T45" fmla="*/ 1105 h 1162"/>
                <a:gd name="T46" fmla="*/ 1395 w 2605"/>
                <a:gd name="T47" fmla="*/ 1151 h 1162"/>
                <a:gd name="T48" fmla="*/ 1105 w 2605"/>
                <a:gd name="T49" fmla="*/ 1133 h 1162"/>
                <a:gd name="T50" fmla="*/ 967 w 2605"/>
                <a:gd name="T51" fmla="*/ 1082 h 1162"/>
                <a:gd name="T52" fmla="*/ 344 w 2605"/>
                <a:gd name="T53" fmla="*/ 810 h 1162"/>
                <a:gd name="T54" fmla="*/ 144 w 2605"/>
                <a:gd name="T55" fmla="*/ 651 h 1162"/>
                <a:gd name="T56" fmla="*/ 31 w 2605"/>
                <a:gd name="T57" fmla="*/ 405 h 1162"/>
                <a:gd name="T58" fmla="*/ 18 w 2605"/>
                <a:gd name="T59" fmla="*/ 280 h 1162"/>
                <a:gd name="T60" fmla="*/ 0 w 2605"/>
                <a:gd name="T61" fmla="*/ 18 h 1162"/>
                <a:gd name="T62" fmla="*/ 0 w 2605"/>
                <a:gd name="T63" fmla="*/ 0 h 11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2605" h="1162">
                  <a:moveTo>
                    <a:pt x="0" y="0"/>
                  </a:moveTo>
                  <a:cubicBezTo>
                    <a:pt x="34" y="0"/>
                    <a:pt x="64" y="0"/>
                    <a:pt x="98" y="0"/>
                  </a:cubicBezTo>
                  <a:cubicBezTo>
                    <a:pt x="98" y="16"/>
                    <a:pt x="100" y="31"/>
                    <a:pt x="100" y="46"/>
                  </a:cubicBezTo>
                  <a:cubicBezTo>
                    <a:pt x="108" y="149"/>
                    <a:pt x="116" y="254"/>
                    <a:pt x="123" y="357"/>
                  </a:cubicBezTo>
                  <a:cubicBezTo>
                    <a:pt x="129" y="426"/>
                    <a:pt x="154" y="487"/>
                    <a:pt x="190" y="544"/>
                  </a:cubicBezTo>
                  <a:cubicBezTo>
                    <a:pt x="234" y="613"/>
                    <a:pt x="290" y="672"/>
                    <a:pt x="364" y="710"/>
                  </a:cubicBezTo>
                  <a:cubicBezTo>
                    <a:pt x="416" y="736"/>
                    <a:pt x="470" y="757"/>
                    <a:pt x="521" y="780"/>
                  </a:cubicBezTo>
                  <a:cubicBezTo>
                    <a:pt x="700" y="857"/>
                    <a:pt x="877" y="936"/>
                    <a:pt x="1054" y="1013"/>
                  </a:cubicBezTo>
                  <a:cubicBezTo>
                    <a:pt x="1108" y="1036"/>
                    <a:pt x="1164" y="1049"/>
                    <a:pt x="1223" y="1054"/>
                  </a:cubicBezTo>
                  <a:cubicBezTo>
                    <a:pt x="1310" y="1062"/>
                    <a:pt x="1400" y="1059"/>
                    <a:pt x="1485" y="1036"/>
                  </a:cubicBezTo>
                  <a:cubicBezTo>
                    <a:pt x="1528" y="1023"/>
                    <a:pt x="1569" y="1005"/>
                    <a:pt x="1610" y="987"/>
                  </a:cubicBezTo>
                  <a:cubicBezTo>
                    <a:pt x="1813" y="898"/>
                    <a:pt x="2018" y="808"/>
                    <a:pt x="2220" y="721"/>
                  </a:cubicBezTo>
                  <a:cubicBezTo>
                    <a:pt x="2287" y="690"/>
                    <a:pt x="2341" y="641"/>
                    <a:pt x="2387" y="585"/>
                  </a:cubicBezTo>
                  <a:cubicBezTo>
                    <a:pt x="2431" y="526"/>
                    <a:pt x="2464" y="464"/>
                    <a:pt x="2477" y="393"/>
                  </a:cubicBezTo>
                  <a:cubicBezTo>
                    <a:pt x="2482" y="357"/>
                    <a:pt x="2484" y="321"/>
                    <a:pt x="2487" y="287"/>
                  </a:cubicBezTo>
                  <a:cubicBezTo>
                    <a:pt x="2492" y="193"/>
                    <a:pt x="2500" y="100"/>
                    <a:pt x="2505" y="8"/>
                  </a:cubicBezTo>
                  <a:cubicBezTo>
                    <a:pt x="2505" y="5"/>
                    <a:pt x="2507" y="3"/>
                    <a:pt x="2507" y="0"/>
                  </a:cubicBezTo>
                  <a:cubicBezTo>
                    <a:pt x="2541" y="0"/>
                    <a:pt x="2572" y="0"/>
                    <a:pt x="2605" y="0"/>
                  </a:cubicBezTo>
                  <a:cubicBezTo>
                    <a:pt x="2605" y="26"/>
                    <a:pt x="2602" y="52"/>
                    <a:pt x="2600" y="75"/>
                  </a:cubicBezTo>
                  <a:cubicBezTo>
                    <a:pt x="2595" y="159"/>
                    <a:pt x="2584" y="244"/>
                    <a:pt x="2582" y="328"/>
                  </a:cubicBezTo>
                  <a:cubicBezTo>
                    <a:pt x="2577" y="541"/>
                    <a:pt x="2428" y="723"/>
                    <a:pt x="2300" y="790"/>
                  </a:cubicBezTo>
                  <a:cubicBezTo>
                    <a:pt x="2254" y="816"/>
                    <a:pt x="2205" y="833"/>
                    <a:pt x="2159" y="854"/>
                  </a:cubicBezTo>
                  <a:cubicBezTo>
                    <a:pt x="1967" y="939"/>
                    <a:pt x="1777" y="1021"/>
                    <a:pt x="1587" y="1105"/>
                  </a:cubicBezTo>
                  <a:cubicBezTo>
                    <a:pt x="1526" y="1131"/>
                    <a:pt x="1459" y="1146"/>
                    <a:pt x="1395" y="1151"/>
                  </a:cubicBezTo>
                  <a:cubicBezTo>
                    <a:pt x="1297" y="1162"/>
                    <a:pt x="1200" y="1156"/>
                    <a:pt x="1105" y="1133"/>
                  </a:cubicBezTo>
                  <a:cubicBezTo>
                    <a:pt x="1057" y="1123"/>
                    <a:pt x="1013" y="1103"/>
                    <a:pt x="967" y="1082"/>
                  </a:cubicBezTo>
                  <a:cubicBezTo>
                    <a:pt x="759" y="992"/>
                    <a:pt x="552" y="900"/>
                    <a:pt x="344" y="810"/>
                  </a:cubicBezTo>
                  <a:cubicBezTo>
                    <a:pt x="264" y="774"/>
                    <a:pt x="198" y="721"/>
                    <a:pt x="144" y="651"/>
                  </a:cubicBezTo>
                  <a:cubicBezTo>
                    <a:pt x="88" y="577"/>
                    <a:pt x="47" y="498"/>
                    <a:pt x="31" y="405"/>
                  </a:cubicBezTo>
                  <a:cubicBezTo>
                    <a:pt x="23" y="364"/>
                    <a:pt x="23" y="321"/>
                    <a:pt x="18" y="280"/>
                  </a:cubicBezTo>
                  <a:cubicBezTo>
                    <a:pt x="13" y="193"/>
                    <a:pt x="6" y="105"/>
                    <a:pt x="0" y="18"/>
                  </a:cubicBezTo>
                  <a:cubicBezTo>
                    <a:pt x="0" y="13"/>
                    <a:pt x="0" y="8"/>
                    <a:pt x="0" y="0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" name="Freeform 9"/>
            <p:cNvSpPr>
              <a:spLocks/>
            </p:cNvSpPr>
            <p:nvPr/>
          </p:nvSpPr>
          <p:spPr bwMode="auto">
            <a:xfrm>
              <a:off x="233" y="3875"/>
              <a:ext cx="90" cy="82"/>
            </a:xfrm>
            <a:custGeom>
              <a:avLst/>
              <a:gdLst>
                <a:gd name="T0" fmla="*/ 369 w 543"/>
                <a:gd name="T1" fmla="*/ 0 h 492"/>
                <a:gd name="T2" fmla="*/ 518 w 543"/>
                <a:gd name="T3" fmla="*/ 0 h 492"/>
                <a:gd name="T4" fmla="*/ 543 w 543"/>
                <a:gd name="T5" fmla="*/ 492 h 492"/>
                <a:gd name="T6" fmla="*/ 433 w 543"/>
                <a:gd name="T7" fmla="*/ 492 h 492"/>
                <a:gd name="T8" fmla="*/ 420 w 543"/>
                <a:gd name="T9" fmla="*/ 110 h 492"/>
                <a:gd name="T10" fmla="*/ 418 w 543"/>
                <a:gd name="T11" fmla="*/ 118 h 492"/>
                <a:gd name="T12" fmla="*/ 308 w 543"/>
                <a:gd name="T13" fmla="*/ 477 h 492"/>
                <a:gd name="T14" fmla="*/ 300 w 543"/>
                <a:gd name="T15" fmla="*/ 484 h 492"/>
                <a:gd name="T16" fmla="*/ 218 w 543"/>
                <a:gd name="T17" fmla="*/ 484 h 492"/>
                <a:gd name="T18" fmla="*/ 120 w 543"/>
                <a:gd name="T19" fmla="*/ 107 h 492"/>
                <a:gd name="T20" fmla="*/ 105 w 543"/>
                <a:gd name="T21" fmla="*/ 492 h 492"/>
                <a:gd name="T22" fmla="*/ 0 w 543"/>
                <a:gd name="T23" fmla="*/ 492 h 492"/>
                <a:gd name="T24" fmla="*/ 31 w 543"/>
                <a:gd name="T25" fmla="*/ 0 h 492"/>
                <a:gd name="T26" fmla="*/ 179 w 543"/>
                <a:gd name="T27" fmla="*/ 0 h 492"/>
                <a:gd name="T28" fmla="*/ 228 w 543"/>
                <a:gd name="T29" fmla="*/ 169 h 492"/>
                <a:gd name="T30" fmla="*/ 269 w 543"/>
                <a:gd name="T31" fmla="*/ 336 h 492"/>
                <a:gd name="T32" fmla="*/ 369 w 543"/>
                <a:gd name="T33" fmla="*/ 0 h 4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543" h="492">
                  <a:moveTo>
                    <a:pt x="369" y="0"/>
                  </a:moveTo>
                  <a:cubicBezTo>
                    <a:pt x="420" y="0"/>
                    <a:pt x="466" y="0"/>
                    <a:pt x="518" y="0"/>
                  </a:cubicBezTo>
                  <a:cubicBezTo>
                    <a:pt x="525" y="164"/>
                    <a:pt x="536" y="328"/>
                    <a:pt x="543" y="492"/>
                  </a:cubicBezTo>
                  <a:cubicBezTo>
                    <a:pt x="508" y="492"/>
                    <a:pt x="472" y="492"/>
                    <a:pt x="433" y="492"/>
                  </a:cubicBezTo>
                  <a:cubicBezTo>
                    <a:pt x="431" y="364"/>
                    <a:pt x="425" y="238"/>
                    <a:pt x="420" y="110"/>
                  </a:cubicBezTo>
                  <a:cubicBezTo>
                    <a:pt x="420" y="113"/>
                    <a:pt x="418" y="115"/>
                    <a:pt x="418" y="118"/>
                  </a:cubicBezTo>
                  <a:cubicBezTo>
                    <a:pt x="382" y="238"/>
                    <a:pt x="346" y="359"/>
                    <a:pt x="308" y="477"/>
                  </a:cubicBezTo>
                  <a:cubicBezTo>
                    <a:pt x="308" y="482"/>
                    <a:pt x="305" y="487"/>
                    <a:pt x="300" y="484"/>
                  </a:cubicBezTo>
                  <a:cubicBezTo>
                    <a:pt x="274" y="484"/>
                    <a:pt x="246" y="484"/>
                    <a:pt x="218" y="484"/>
                  </a:cubicBezTo>
                  <a:cubicBezTo>
                    <a:pt x="185" y="359"/>
                    <a:pt x="146" y="236"/>
                    <a:pt x="120" y="107"/>
                  </a:cubicBezTo>
                  <a:cubicBezTo>
                    <a:pt x="115" y="236"/>
                    <a:pt x="110" y="364"/>
                    <a:pt x="105" y="492"/>
                  </a:cubicBezTo>
                  <a:cubicBezTo>
                    <a:pt x="69" y="492"/>
                    <a:pt x="36" y="492"/>
                    <a:pt x="0" y="492"/>
                  </a:cubicBezTo>
                  <a:cubicBezTo>
                    <a:pt x="10" y="328"/>
                    <a:pt x="20" y="164"/>
                    <a:pt x="31" y="0"/>
                  </a:cubicBezTo>
                  <a:cubicBezTo>
                    <a:pt x="82" y="0"/>
                    <a:pt x="131" y="0"/>
                    <a:pt x="179" y="0"/>
                  </a:cubicBezTo>
                  <a:cubicBezTo>
                    <a:pt x="197" y="56"/>
                    <a:pt x="213" y="113"/>
                    <a:pt x="228" y="169"/>
                  </a:cubicBezTo>
                  <a:cubicBezTo>
                    <a:pt x="243" y="225"/>
                    <a:pt x="256" y="282"/>
                    <a:pt x="269" y="336"/>
                  </a:cubicBezTo>
                  <a:cubicBezTo>
                    <a:pt x="302" y="225"/>
                    <a:pt x="336" y="113"/>
                    <a:pt x="369" y="0"/>
                  </a:cubicBezTo>
                  <a:close/>
                </a:path>
              </a:pathLst>
            </a:custGeom>
            <a:solidFill>
              <a:srgbClr val="EC1D2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" name="Freeform 10"/>
            <p:cNvSpPr>
              <a:spLocks/>
            </p:cNvSpPr>
            <p:nvPr/>
          </p:nvSpPr>
          <p:spPr bwMode="auto">
            <a:xfrm>
              <a:off x="623" y="3875"/>
              <a:ext cx="67" cy="82"/>
            </a:xfrm>
            <a:custGeom>
              <a:avLst/>
              <a:gdLst>
                <a:gd name="T0" fmla="*/ 0 w 407"/>
                <a:gd name="T1" fmla="*/ 0 h 495"/>
                <a:gd name="T2" fmla="*/ 107 w 407"/>
                <a:gd name="T3" fmla="*/ 0 h 495"/>
                <a:gd name="T4" fmla="*/ 141 w 407"/>
                <a:gd name="T5" fmla="*/ 20 h 495"/>
                <a:gd name="T6" fmla="*/ 266 w 407"/>
                <a:gd name="T7" fmla="*/ 246 h 495"/>
                <a:gd name="T8" fmla="*/ 307 w 407"/>
                <a:gd name="T9" fmla="*/ 333 h 495"/>
                <a:gd name="T10" fmla="*/ 312 w 407"/>
                <a:gd name="T11" fmla="*/ 343 h 495"/>
                <a:gd name="T12" fmla="*/ 305 w 407"/>
                <a:gd name="T13" fmla="*/ 0 h 495"/>
                <a:gd name="T14" fmla="*/ 407 w 407"/>
                <a:gd name="T15" fmla="*/ 0 h 495"/>
                <a:gd name="T16" fmla="*/ 407 w 407"/>
                <a:gd name="T17" fmla="*/ 492 h 495"/>
                <a:gd name="T18" fmla="*/ 402 w 407"/>
                <a:gd name="T19" fmla="*/ 495 h 495"/>
                <a:gd name="T20" fmla="*/ 300 w 407"/>
                <a:gd name="T21" fmla="*/ 492 h 495"/>
                <a:gd name="T22" fmla="*/ 287 w 407"/>
                <a:gd name="T23" fmla="*/ 487 h 495"/>
                <a:gd name="T24" fmla="*/ 135 w 407"/>
                <a:gd name="T25" fmla="*/ 207 h 495"/>
                <a:gd name="T26" fmla="*/ 100 w 407"/>
                <a:gd name="T27" fmla="*/ 130 h 495"/>
                <a:gd name="T28" fmla="*/ 105 w 407"/>
                <a:gd name="T29" fmla="*/ 492 h 495"/>
                <a:gd name="T30" fmla="*/ 0 w 407"/>
                <a:gd name="T31" fmla="*/ 492 h 495"/>
                <a:gd name="T32" fmla="*/ 0 w 407"/>
                <a:gd name="T33" fmla="*/ 0 h 4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407" h="495">
                  <a:moveTo>
                    <a:pt x="0" y="0"/>
                  </a:moveTo>
                  <a:cubicBezTo>
                    <a:pt x="35" y="0"/>
                    <a:pt x="71" y="2"/>
                    <a:pt x="107" y="0"/>
                  </a:cubicBezTo>
                  <a:cubicBezTo>
                    <a:pt x="125" y="0"/>
                    <a:pt x="133" y="5"/>
                    <a:pt x="141" y="20"/>
                  </a:cubicBezTo>
                  <a:cubicBezTo>
                    <a:pt x="182" y="95"/>
                    <a:pt x="225" y="169"/>
                    <a:pt x="266" y="246"/>
                  </a:cubicBezTo>
                  <a:cubicBezTo>
                    <a:pt x="282" y="274"/>
                    <a:pt x="292" y="305"/>
                    <a:pt x="307" y="333"/>
                  </a:cubicBezTo>
                  <a:cubicBezTo>
                    <a:pt x="307" y="338"/>
                    <a:pt x="310" y="341"/>
                    <a:pt x="312" y="343"/>
                  </a:cubicBezTo>
                  <a:cubicBezTo>
                    <a:pt x="302" y="230"/>
                    <a:pt x="305" y="115"/>
                    <a:pt x="305" y="0"/>
                  </a:cubicBezTo>
                  <a:cubicBezTo>
                    <a:pt x="341" y="0"/>
                    <a:pt x="374" y="0"/>
                    <a:pt x="407" y="0"/>
                  </a:cubicBezTo>
                  <a:cubicBezTo>
                    <a:pt x="407" y="164"/>
                    <a:pt x="407" y="328"/>
                    <a:pt x="407" y="492"/>
                  </a:cubicBezTo>
                  <a:cubicBezTo>
                    <a:pt x="405" y="492"/>
                    <a:pt x="402" y="495"/>
                    <a:pt x="402" y="495"/>
                  </a:cubicBezTo>
                  <a:cubicBezTo>
                    <a:pt x="366" y="495"/>
                    <a:pt x="333" y="495"/>
                    <a:pt x="300" y="492"/>
                  </a:cubicBezTo>
                  <a:cubicBezTo>
                    <a:pt x="294" y="492"/>
                    <a:pt x="289" y="489"/>
                    <a:pt x="287" y="487"/>
                  </a:cubicBezTo>
                  <a:cubicBezTo>
                    <a:pt x="235" y="395"/>
                    <a:pt x="184" y="300"/>
                    <a:pt x="135" y="207"/>
                  </a:cubicBezTo>
                  <a:cubicBezTo>
                    <a:pt x="123" y="182"/>
                    <a:pt x="112" y="156"/>
                    <a:pt x="100" y="130"/>
                  </a:cubicBezTo>
                  <a:cubicBezTo>
                    <a:pt x="102" y="251"/>
                    <a:pt x="102" y="371"/>
                    <a:pt x="105" y="492"/>
                  </a:cubicBezTo>
                  <a:cubicBezTo>
                    <a:pt x="69" y="492"/>
                    <a:pt x="35" y="492"/>
                    <a:pt x="0" y="492"/>
                  </a:cubicBezTo>
                  <a:cubicBezTo>
                    <a:pt x="0" y="328"/>
                    <a:pt x="0" y="166"/>
                    <a:pt x="0" y="0"/>
                  </a:cubicBezTo>
                  <a:close/>
                </a:path>
              </a:pathLst>
            </a:custGeom>
            <a:solidFill>
              <a:srgbClr val="EC1D2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" name="Freeform 11"/>
            <p:cNvSpPr>
              <a:spLocks noEditPoints="1"/>
            </p:cNvSpPr>
            <p:nvPr/>
          </p:nvSpPr>
          <p:spPr bwMode="auto">
            <a:xfrm>
              <a:off x="391" y="3874"/>
              <a:ext cx="61" cy="83"/>
            </a:xfrm>
            <a:custGeom>
              <a:avLst/>
              <a:gdLst>
                <a:gd name="T0" fmla="*/ 108 w 372"/>
                <a:gd name="T1" fmla="*/ 305 h 500"/>
                <a:gd name="T2" fmla="*/ 108 w 372"/>
                <a:gd name="T3" fmla="*/ 497 h 500"/>
                <a:gd name="T4" fmla="*/ 0 w 372"/>
                <a:gd name="T5" fmla="*/ 497 h 500"/>
                <a:gd name="T6" fmla="*/ 0 w 372"/>
                <a:gd name="T7" fmla="*/ 12 h 500"/>
                <a:gd name="T8" fmla="*/ 87 w 372"/>
                <a:gd name="T9" fmla="*/ 5 h 500"/>
                <a:gd name="T10" fmla="*/ 228 w 372"/>
                <a:gd name="T11" fmla="*/ 7 h 500"/>
                <a:gd name="T12" fmla="*/ 321 w 372"/>
                <a:gd name="T13" fmla="*/ 53 h 500"/>
                <a:gd name="T14" fmla="*/ 277 w 372"/>
                <a:gd name="T15" fmla="*/ 261 h 500"/>
                <a:gd name="T16" fmla="*/ 267 w 372"/>
                <a:gd name="T17" fmla="*/ 266 h 500"/>
                <a:gd name="T18" fmla="*/ 269 w 372"/>
                <a:gd name="T19" fmla="*/ 269 h 500"/>
                <a:gd name="T20" fmla="*/ 321 w 372"/>
                <a:gd name="T21" fmla="*/ 325 h 500"/>
                <a:gd name="T22" fmla="*/ 349 w 372"/>
                <a:gd name="T23" fmla="*/ 425 h 500"/>
                <a:gd name="T24" fmla="*/ 369 w 372"/>
                <a:gd name="T25" fmla="*/ 497 h 500"/>
                <a:gd name="T26" fmla="*/ 362 w 372"/>
                <a:gd name="T27" fmla="*/ 500 h 500"/>
                <a:gd name="T28" fmla="*/ 264 w 372"/>
                <a:gd name="T29" fmla="*/ 500 h 500"/>
                <a:gd name="T30" fmla="*/ 251 w 372"/>
                <a:gd name="T31" fmla="*/ 489 h 500"/>
                <a:gd name="T32" fmla="*/ 221 w 372"/>
                <a:gd name="T33" fmla="*/ 382 h 500"/>
                <a:gd name="T34" fmla="*/ 210 w 372"/>
                <a:gd name="T35" fmla="*/ 348 h 500"/>
                <a:gd name="T36" fmla="*/ 154 w 372"/>
                <a:gd name="T37" fmla="*/ 305 h 500"/>
                <a:gd name="T38" fmla="*/ 108 w 372"/>
                <a:gd name="T39" fmla="*/ 305 h 500"/>
                <a:gd name="T40" fmla="*/ 110 w 372"/>
                <a:gd name="T41" fmla="*/ 223 h 500"/>
                <a:gd name="T42" fmla="*/ 162 w 372"/>
                <a:gd name="T43" fmla="*/ 223 h 500"/>
                <a:gd name="T44" fmla="*/ 215 w 372"/>
                <a:gd name="T45" fmla="*/ 205 h 500"/>
                <a:gd name="T46" fmla="*/ 210 w 372"/>
                <a:gd name="T47" fmla="*/ 97 h 500"/>
                <a:gd name="T48" fmla="*/ 110 w 372"/>
                <a:gd name="T49" fmla="*/ 89 h 500"/>
                <a:gd name="T50" fmla="*/ 110 w 372"/>
                <a:gd name="T51" fmla="*/ 223 h 5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372" h="500">
                  <a:moveTo>
                    <a:pt x="108" y="305"/>
                  </a:moveTo>
                  <a:cubicBezTo>
                    <a:pt x="108" y="369"/>
                    <a:pt x="108" y="433"/>
                    <a:pt x="108" y="497"/>
                  </a:cubicBezTo>
                  <a:cubicBezTo>
                    <a:pt x="72" y="497"/>
                    <a:pt x="36" y="497"/>
                    <a:pt x="0" y="497"/>
                  </a:cubicBezTo>
                  <a:cubicBezTo>
                    <a:pt x="0" y="335"/>
                    <a:pt x="0" y="174"/>
                    <a:pt x="0" y="12"/>
                  </a:cubicBezTo>
                  <a:cubicBezTo>
                    <a:pt x="28" y="10"/>
                    <a:pt x="57" y="5"/>
                    <a:pt x="87" y="5"/>
                  </a:cubicBezTo>
                  <a:cubicBezTo>
                    <a:pt x="133" y="0"/>
                    <a:pt x="180" y="0"/>
                    <a:pt x="228" y="7"/>
                  </a:cubicBezTo>
                  <a:cubicBezTo>
                    <a:pt x="262" y="15"/>
                    <a:pt x="295" y="28"/>
                    <a:pt x="321" y="53"/>
                  </a:cubicBezTo>
                  <a:cubicBezTo>
                    <a:pt x="367" y="102"/>
                    <a:pt x="372" y="215"/>
                    <a:pt x="277" y="261"/>
                  </a:cubicBezTo>
                  <a:cubicBezTo>
                    <a:pt x="274" y="261"/>
                    <a:pt x="269" y="264"/>
                    <a:pt x="267" y="266"/>
                  </a:cubicBezTo>
                  <a:cubicBezTo>
                    <a:pt x="267" y="266"/>
                    <a:pt x="267" y="269"/>
                    <a:pt x="269" y="269"/>
                  </a:cubicBezTo>
                  <a:cubicBezTo>
                    <a:pt x="295" y="279"/>
                    <a:pt x="310" y="300"/>
                    <a:pt x="321" y="325"/>
                  </a:cubicBezTo>
                  <a:cubicBezTo>
                    <a:pt x="331" y="359"/>
                    <a:pt x="338" y="392"/>
                    <a:pt x="349" y="425"/>
                  </a:cubicBezTo>
                  <a:cubicBezTo>
                    <a:pt x="356" y="448"/>
                    <a:pt x="362" y="471"/>
                    <a:pt x="369" y="497"/>
                  </a:cubicBezTo>
                  <a:cubicBezTo>
                    <a:pt x="367" y="497"/>
                    <a:pt x="364" y="500"/>
                    <a:pt x="362" y="500"/>
                  </a:cubicBezTo>
                  <a:cubicBezTo>
                    <a:pt x="328" y="500"/>
                    <a:pt x="297" y="497"/>
                    <a:pt x="264" y="500"/>
                  </a:cubicBezTo>
                  <a:cubicBezTo>
                    <a:pt x="256" y="500"/>
                    <a:pt x="254" y="497"/>
                    <a:pt x="251" y="489"/>
                  </a:cubicBezTo>
                  <a:cubicBezTo>
                    <a:pt x="241" y="453"/>
                    <a:pt x="231" y="417"/>
                    <a:pt x="221" y="382"/>
                  </a:cubicBezTo>
                  <a:cubicBezTo>
                    <a:pt x="218" y="369"/>
                    <a:pt x="215" y="359"/>
                    <a:pt x="210" y="348"/>
                  </a:cubicBezTo>
                  <a:cubicBezTo>
                    <a:pt x="203" y="323"/>
                    <a:pt x="182" y="307"/>
                    <a:pt x="154" y="305"/>
                  </a:cubicBezTo>
                  <a:cubicBezTo>
                    <a:pt x="139" y="305"/>
                    <a:pt x="126" y="305"/>
                    <a:pt x="108" y="305"/>
                  </a:cubicBezTo>
                  <a:close/>
                  <a:moveTo>
                    <a:pt x="110" y="223"/>
                  </a:moveTo>
                  <a:cubicBezTo>
                    <a:pt x="128" y="223"/>
                    <a:pt x="146" y="225"/>
                    <a:pt x="162" y="223"/>
                  </a:cubicBezTo>
                  <a:cubicBezTo>
                    <a:pt x="182" y="223"/>
                    <a:pt x="200" y="218"/>
                    <a:pt x="215" y="205"/>
                  </a:cubicBezTo>
                  <a:cubicBezTo>
                    <a:pt x="251" y="179"/>
                    <a:pt x="249" y="118"/>
                    <a:pt x="210" y="97"/>
                  </a:cubicBezTo>
                  <a:cubicBezTo>
                    <a:pt x="177" y="79"/>
                    <a:pt x="144" y="87"/>
                    <a:pt x="110" y="89"/>
                  </a:cubicBezTo>
                  <a:cubicBezTo>
                    <a:pt x="110" y="135"/>
                    <a:pt x="110" y="179"/>
                    <a:pt x="110" y="223"/>
                  </a:cubicBezTo>
                  <a:close/>
                </a:path>
              </a:pathLst>
            </a:custGeom>
            <a:solidFill>
              <a:srgbClr val="EC1D2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" name="Freeform 12"/>
            <p:cNvSpPr>
              <a:spLocks noEditPoints="1"/>
            </p:cNvSpPr>
            <p:nvPr/>
          </p:nvSpPr>
          <p:spPr bwMode="auto">
            <a:xfrm>
              <a:off x="156" y="3875"/>
              <a:ext cx="74" cy="82"/>
            </a:xfrm>
            <a:custGeom>
              <a:avLst/>
              <a:gdLst>
                <a:gd name="T0" fmla="*/ 293 w 449"/>
                <a:gd name="T1" fmla="*/ 366 h 495"/>
                <a:gd name="T2" fmla="*/ 229 w 449"/>
                <a:gd name="T3" fmla="*/ 366 h 495"/>
                <a:gd name="T4" fmla="*/ 162 w 449"/>
                <a:gd name="T5" fmla="*/ 366 h 495"/>
                <a:gd name="T6" fmla="*/ 147 w 449"/>
                <a:gd name="T7" fmla="*/ 379 h 495"/>
                <a:gd name="T8" fmla="*/ 118 w 449"/>
                <a:gd name="T9" fmla="*/ 484 h 495"/>
                <a:gd name="T10" fmla="*/ 108 w 449"/>
                <a:gd name="T11" fmla="*/ 495 h 495"/>
                <a:gd name="T12" fmla="*/ 8 w 449"/>
                <a:gd name="T13" fmla="*/ 495 h 495"/>
                <a:gd name="T14" fmla="*/ 0 w 449"/>
                <a:gd name="T15" fmla="*/ 492 h 495"/>
                <a:gd name="T16" fmla="*/ 26 w 449"/>
                <a:gd name="T17" fmla="*/ 410 h 495"/>
                <a:gd name="T18" fmla="*/ 147 w 449"/>
                <a:gd name="T19" fmla="*/ 10 h 495"/>
                <a:gd name="T20" fmla="*/ 162 w 449"/>
                <a:gd name="T21" fmla="*/ 0 h 495"/>
                <a:gd name="T22" fmla="*/ 298 w 449"/>
                <a:gd name="T23" fmla="*/ 0 h 495"/>
                <a:gd name="T24" fmla="*/ 449 w 449"/>
                <a:gd name="T25" fmla="*/ 492 h 495"/>
                <a:gd name="T26" fmla="*/ 439 w 449"/>
                <a:gd name="T27" fmla="*/ 495 h 495"/>
                <a:gd name="T28" fmla="*/ 341 w 449"/>
                <a:gd name="T29" fmla="*/ 495 h 495"/>
                <a:gd name="T30" fmla="*/ 326 w 449"/>
                <a:gd name="T31" fmla="*/ 482 h 495"/>
                <a:gd name="T32" fmla="*/ 293 w 449"/>
                <a:gd name="T33" fmla="*/ 366 h 495"/>
                <a:gd name="T34" fmla="*/ 170 w 449"/>
                <a:gd name="T35" fmla="*/ 282 h 495"/>
                <a:gd name="T36" fmla="*/ 275 w 449"/>
                <a:gd name="T37" fmla="*/ 282 h 495"/>
                <a:gd name="T38" fmla="*/ 221 w 449"/>
                <a:gd name="T39" fmla="*/ 87 h 495"/>
                <a:gd name="T40" fmla="*/ 170 w 449"/>
                <a:gd name="T41" fmla="*/ 282 h 4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49" h="495">
                  <a:moveTo>
                    <a:pt x="293" y="366"/>
                  </a:moveTo>
                  <a:cubicBezTo>
                    <a:pt x="270" y="366"/>
                    <a:pt x="249" y="366"/>
                    <a:pt x="229" y="366"/>
                  </a:cubicBezTo>
                  <a:cubicBezTo>
                    <a:pt x="205" y="366"/>
                    <a:pt x="185" y="366"/>
                    <a:pt x="162" y="366"/>
                  </a:cubicBezTo>
                  <a:cubicBezTo>
                    <a:pt x="152" y="366"/>
                    <a:pt x="149" y="369"/>
                    <a:pt x="147" y="379"/>
                  </a:cubicBezTo>
                  <a:cubicBezTo>
                    <a:pt x="139" y="412"/>
                    <a:pt x="129" y="448"/>
                    <a:pt x="118" y="484"/>
                  </a:cubicBezTo>
                  <a:cubicBezTo>
                    <a:pt x="118" y="492"/>
                    <a:pt x="116" y="495"/>
                    <a:pt x="108" y="495"/>
                  </a:cubicBezTo>
                  <a:cubicBezTo>
                    <a:pt x="75" y="492"/>
                    <a:pt x="41" y="495"/>
                    <a:pt x="8" y="495"/>
                  </a:cubicBezTo>
                  <a:cubicBezTo>
                    <a:pt x="6" y="495"/>
                    <a:pt x="3" y="492"/>
                    <a:pt x="0" y="492"/>
                  </a:cubicBezTo>
                  <a:cubicBezTo>
                    <a:pt x="8" y="464"/>
                    <a:pt x="18" y="438"/>
                    <a:pt x="26" y="410"/>
                  </a:cubicBezTo>
                  <a:cubicBezTo>
                    <a:pt x="67" y="277"/>
                    <a:pt x="108" y="143"/>
                    <a:pt x="147" y="10"/>
                  </a:cubicBezTo>
                  <a:cubicBezTo>
                    <a:pt x="149" y="2"/>
                    <a:pt x="154" y="0"/>
                    <a:pt x="162" y="0"/>
                  </a:cubicBezTo>
                  <a:cubicBezTo>
                    <a:pt x="208" y="0"/>
                    <a:pt x="252" y="0"/>
                    <a:pt x="298" y="0"/>
                  </a:cubicBezTo>
                  <a:cubicBezTo>
                    <a:pt x="349" y="164"/>
                    <a:pt x="398" y="328"/>
                    <a:pt x="449" y="492"/>
                  </a:cubicBezTo>
                  <a:cubicBezTo>
                    <a:pt x="446" y="492"/>
                    <a:pt x="444" y="495"/>
                    <a:pt x="439" y="495"/>
                  </a:cubicBezTo>
                  <a:cubicBezTo>
                    <a:pt x="408" y="495"/>
                    <a:pt x="375" y="492"/>
                    <a:pt x="341" y="495"/>
                  </a:cubicBezTo>
                  <a:cubicBezTo>
                    <a:pt x="331" y="495"/>
                    <a:pt x="329" y="489"/>
                    <a:pt x="326" y="482"/>
                  </a:cubicBezTo>
                  <a:cubicBezTo>
                    <a:pt x="316" y="443"/>
                    <a:pt x="303" y="405"/>
                    <a:pt x="293" y="366"/>
                  </a:cubicBezTo>
                  <a:close/>
                  <a:moveTo>
                    <a:pt x="170" y="282"/>
                  </a:moveTo>
                  <a:cubicBezTo>
                    <a:pt x="203" y="282"/>
                    <a:pt x="239" y="282"/>
                    <a:pt x="275" y="282"/>
                  </a:cubicBezTo>
                  <a:cubicBezTo>
                    <a:pt x="254" y="215"/>
                    <a:pt x="236" y="151"/>
                    <a:pt x="221" y="87"/>
                  </a:cubicBezTo>
                  <a:cubicBezTo>
                    <a:pt x="203" y="151"/>
                    <a:pt x="185" y="218"/>
                    <a:pt x="170" y="282"/>
                  </a:cubicBezTo>
                  <a:close/>
                </a:path>
              </a:pathLst>
            </a:custGeom>
            <a:solidFill>
              <a:srgbClr val="EC1D2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" name="Freeform 13"/>
            <p:cNvSpPr>
              <a:spLocks noEditPoints="1"/>
            </p:cNvSpPr>
            <p:nvPr/>
          </p:nvSpPr>
          <p:spPr bwMode="auto">
            <a:xfrm>
              <a:off x="546" y="3875"/>
              <a:ext cx="74" cy="82"/>
            </a:xfrm>
            <a:custGeom>
              <a:avLst/>
              <a:gdLst>
                <a:gd name="T0" fmla="*/ 151 w 451"/>
                <a:gd name="T1" fmla="*/ 0 h 495"/>
                <a:gd name="T2" fmla="*/ 297 w 451"/>
                <a:gd name="T3" fmla="*/ 0 h 495"/>
                <a:gd name="T4" fmla="*/ 451 w 451"/>
                <a:gd name="T5" fmla="*/ 495 h 495"/>
                <a:gd name="T6" fmla="*/ 420 w 451"/>
                <a:gd name="T7" fmla="*/ 495 h 495"/>
                <a:gd name="T8" fmla="*/ 338 w 451"/>
                <a:gd name="T9" fmla="*/ 495 h 495"/>
                <a:gd name="T10" fmla="*/ 325 w 451"/>
                <a:gd name="T11" fmla="*/ 484 h 495"/>
                <a:gd name="T12" fmla="*/ 292 w 451"/>
                <a:gd name="T13" fmla="*/ 374 h 495"/>
                <a:gd name="T14" fmla="*/ 284 w 451"/>
                <a:gd name="T15" fmla="*/ 366 h 495"/>
                <a:gd name="T16" fmla="*/ 151 w 451"/>
                <a:gd name="T17" fmla="*/ 366 h 495"/>
                <a:gd name="T18" fmla="*/ 120 w 451"/>
                <a:gd name="T19" fmla="*/ 479 h 495"/>
                <a:gd name="T20" fmla="*/ 102 w 451"/>
                <a:gd name="T21" fmla="*/ 495 h 495"/>
                <a:gd name="T22" fmla="*/ 13 w 451"/>
                <a:gd name="T23" fmla="*/ 495 h 495"/>
                <a:gd name="T24" fmla="*/ 0 w 451"/>
                <a:gd name="T25" fmla="*/ 495 h 495"/>
                <a:gd name="T26" fmla="*/ 151 w 451"/>
                <a:gd name="T27" fmla="*/ 0 h 495"/>
                <a:gd name="T28" fmla="*/ 220 w 451"/>
                <a:gd name="T29" fmla="*/ 87 h 495"/>
                <a:gd name="T30" fmla="*/ 169 w 451"/>
                <a:gd name="T31" fmla="*/ 282 h 495"/>
                <a:gd name="T32" fmla="*/ 274 w 451"/>
                <a:gd name="T33" fmla="*/ 282 h 495"/>
                <a:gd name="T34" fmla="*/ 220 w 451"/>
                <a:gd name="T35" fmla="*/ 87 h 4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451" h="495">
                  <a:moveTo>
                    <a:pt x="151" y="0"/>
                  </a:moveTo>
                  <a:cubicBezTo>
                    <a:pt x="200" y="0"/>
                    <a:pt x="249" y="0"/>
                    <a:pt x="297" y="0"/>
                  </a:cubicBezTo>
                  <a:cubicBezTo>
                    <a:pt x="349" y="164"/>
                    <a:pt x="397" y="328"/>
                    <a:pt x="451" y="495"/>
                  </a:cubicBezTo>
                  <a:cubicBezTo>
                    <a:pt x="438" y="495"/>
                    <a:pt x="431" y="495"/>
                    <a:pt x="420" y="495"/>
                  </a:cubicBezTo>
                  <a:cubicBezTo>
                    <a:pt x="395" y="495"/>
                    <a:pt x="366" y="492"/>
                    <a:pt x="338" y="495"/>
                  </a:cubicBezTo>
                  <a:cubicBezTo>
                    <a:pt x="331" y="495"/>
                    <a:pt x="328" y="492"/>
                    <a:pt x="325" y="484"/>
                  </a:cubicBezTo>
                  <a:cubicBezTo>
                    <a:pt x="315" y="448"/>
                    <a:pt x="305" y="410"/>
                    <a:pt x="292" y="374"/>
                  </a:cubicBezTo>
                  <a:cubicBezTo>
                    <a:pt x="292" y="371"/>
                    <a:pt x="287" y="366"/>
                    <a:pt x="284" y="366"/>
                  </a:cubicBezTo>
                  <a:cubicBezTo>
                    <a:pt x="241" y="366"/>
                    <a:pt x="195" y="366"/>
                    <a:pt x="151" y="366"/>
                  </a:cubicBezTo>
                  <a:cubicBezTo>
                    <a:pt x="141" y="405"/>
                    <a:pt x="131" y="441"/>
                    <a:pt x="120" y="479"/>
                  </a:cubicBezTo>
                  <a:cubicBezTo>
                    <a:pt x="118" y="489"/>
                    <a:pt x="113" y="495"/>
                    <a:pt x="102" y="495"/>
                  </a:cubicBezTo>
                  <a:cubicBezTo>
                    <a:pt x="72" y="492"/>
                    <a:pt x="41" y="495"/>
                    <a:pt x="13" y="495"/>
                  </a:cubicBezTo>
                  <a:cubicBezTo>
                    <a:pt x="8" y="495"/>
                    <a:pt x="5" y="495"/>
                    <a:pt x="0" y="495"/>
                  </a:cubicBezTo>
                  <a:cubicBezTo>
                    <a:pt x="51" y="328"/>
                    <a:pt x="100" y="164"/>
                    <a:pt x="151" y="0"/>
                  </a:cubicBezTo>
                  <a:close/>
                  <a:moveTo>
                    <a:pt x="220" y="87"/>
                  </a:moveTo>
                  <a:cubicBezTo>
                    <a:pt x="202" y="151"/>
                    <a:pt x="184" y="218"/>
                    <a:pt x="169" y="282"/>
                  </a:cubicBezTo>
                  <a:cubicBezTo>
                    <a:pt x="202" y="282"/>
                    <a:pt x="238" y="282"/>
                    <a:pt x="274" y="282"/>
                  </a:cubicBezTo>
                  <a:cubicBezTo>
                    <a:pt x="256" y="215"/>
                    <a:pt x="238" y="151"/>
                    <a:pt x="220" y="87"/>
                  </a:cubicBezTo>
                  <a:close/>
                </a:path>
              </a:pathLst>
            </a:custGeom>
            <a:solidFill>
              <a:srgbClr val="EC1D2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" name="Freeform 14"/>
            <p:cNvSpPr>
              <a:spLocks/>
            </p:cNvSpPr>
            <p:nvPr/>
          </p:nvSpPr>
          <p:spPr bwMode="auto">
            <a:xfrm>
              <a:off x="331" y="3875"/>
              <a:ext cx="52" cy="82"/>
            </a:xfrm>
            <a:custGeom>
              <a:avLst/>
              <a:gdLst>
                <a:gd name="T0" fmla="*/ 313 w 313"/>
                <a:gd name="T1" fmla="*/ 490 h 490"/>
                <a:gd name="T2" fmla="*/ 0 w 313"/>
                <a:gd name="T3" fmla="*/ 490 h 490"/>
                <a:gd name="T4" fmla="*/ 0 w 313"/>
                <a:gd name="T5" fmla="*/ 0 h 490"/>
                <a:gd name="T6" fmla="*/ 303 w 313"/>
                <a:gd name="T7" fmla="*/ 0 h 490"/>
                <a:gd name="T8" fmla="*/ 303 w 313"/>
                <a:gd name="T9" fmla="*/ 90 h 490"/>
                <a:gd name="T10" fmla="*/ 110 w 313"/>
                <a:gd name="T11" fmla="*/ 90 h 490"/>
                <a:gd name="T12" fmla="*/ 110 w 313"/>
                <a:gd name="T13" fmla="*/ 193 h 490"/>
                <a:gd name="T14" fmla="*/ 292 w 313"/>
                <a:gd name="T15" fmla="*/ 193 h 490"/>
                <a:gd name="T16" fmla="*/ 292 w 313"/>
                <a:gd name="T17" fmla="*/ 282 h 490"/>
                <a:gd name="T18" fmla="*/ 110 w 313"/>
                <a:gd name="T19" fmla="*/ 282 h 490"/>
                <a:gd name="T20" fmla="*/ 110 w 313"/>
                <a:gd name="T21" fmla="*/ 398 h 490"/>
                <a:gd name="T22" fmla="*/ 313 w 313"/>
                <a:gd name="T23" fmla="*/ 398 h 490"/>
                <a:gd name="T24" fmla="*/ 313 w 313"/>
                <a:gd name="T25" fmla="*/ 490 h 4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13" h="490">
                  <a:moveTo>
                    <a:pt x="313" y="490"/>
                  </a:moveTo>
                  <a:cubicBezTo>
                    <a:pt x="208" y="490"/>
                    <a:pt x="105" y="490"/>
                    <a:pt x="0" y="490"/>
                  </a:cubicBezTo>
                  <a:cubicBezTo>
                    <a:pt x="0" y="326"/>
                    <a:pt x="0" y="164"/>
                    <a:pt x="0" y="0"/>
                  </a:cubicBezTo>
                  <a:cubicBezTo>
                    <a:pt x="100" y="0"/>
                    <a:pt x="200" y="0"/>
                    <a:pt x="303" y="0"/>
                  </a:cubicBezTo>
                  <a:cubicBezTo>
                    <a:pt x="303" y="29"/>
                    <a:pt x="303" y="59"/>
                    <a:pt x="303" y="90"/>
                  </a:cubicBezTo>
                  <a:cubicBezTo>
                    <a:pt x="239" y="90"/>
                    <a:pt x="175" y="90"/>
                    <a:pt x="110" y="90"/>
                  </a:cubicBezTo>
                  <a:cubicBezTo>
                    <a:pt x="110" y="123"/>
                    <a:pt x="110" y="157"/>
                    <a:pt x="110" y="193"/>
                  </a:cubicBezTo>
                  <a:cubicBezTo>
                    <a:pt x="172" y="193"/>
                    <a:pt x="231" y="193"/>
                    <a:pt x="292" y="193"/>
                  </a:cubicBezTo>
                  <a:cubicBezTo>
                    <a:pt x="292" y="223"/>
                    <a:pt x="292" y="252"/>
                    <a:pt x="292" y="282"/>
                  </a:cubicBezTo>
                  <a:cubicBezTo>
                    <a:pt x="231" y="282"/>
                    <a:pt x="172" y="282"/>
                    <a:pt x="110" y="282"/>
                  </a:cubicBezTo>
                  <a:cubicBezTo>
                    <a:pt x="110" y="321"/>
                    <a:pt x="110" y="359"/>
                    <a:pt x="110" y="398"/>
                  </a:cubicBezTo>
                  <a:cubicBezTo>
                    <a:pt x="177" y="398"/>
                    <a:pt x="244" y="398"/>
                    <a:pt x="313" y="398"/>
                  </a:cubicBezTo>
                  <a:cubicBezTo>
                    <a:pt x="313" y="431"/>
                    <a:pt x="313" y="459"/>
                    <a:pt x="313" y="490"/>
                  </a:cubicBezTo>
                  <a:close/>
                </a:path>
              </a:pathLst>
            </a:custGeom>
            <a:solidFill>
              <a:srgbClr val="EC1D2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" name="Freeform 15"/>
            <p:cNvSpPr>
              <a:spLocks/>
            </p:cNvSpPr>
            <p:nvPr/>
          </p:nvSpPr>
          <p:spPr bwMode="auto">
            <a:xfrm>
              <a:off x="480" y="3873"/>
              <a:ext cx="66" cy="86"/>
            </a:xfrm>
            <a:custGeom>
              <a:avLst/>
              <a:gdLst>
                <a:gd name="T0" fmla="*/ 371 w 397"/>
                <a:gd name="T1" fmla="*/ 112 h 515"/>
                <a:gd name="T2" fmla="*/ 238 w 397"/>
                <a:gd name="T3" fmla="*/ 99 h 515"/>
                <a:gd name="T4" fmla="*/ 125 w 397"/>
                <a:gd name="T5" fmla="*/ 230 h 515"/>
                <a:gd name="T6" fmla="*/ 130 w 397"/>
                <a:gd name="T7" fmla="*/ 310 h 515"/>
                <a:gd name="T8" fmla="*/ 266 w 397"/>
                <a:gd name="T9" fmla="*/ 417 h 515"/>
                <a:gd name="T10" fmla="*/ 320 w 397"/>
                <a:gd name="T11" fmla="*/ 415 h 515"/>
                <a:gd name="T12" fmla="*/ 374 w 397"/>
                <a:gd name="T13" fmla="*/ 402 h 515"/>
                <a:gd name="T14" fmla="*/ 389 w 397"/>
                <a:gd name="T15" fmla="*/ 492 h 515"/>
                <a:gd name="T16" fmla="*/ 343 w 397"/>
                <a:gd name="T17" fmla="*/ 502 h 515"/>
                <a:gd name="T18" fmla="*/ 161 w 397"/>
                <a:gd name="T19" fmla="*/ 494 h 515"/>
                <a:gd name="T20" fmla="*/ 10 w 397"/>
                <a:gd name="T21" fmla="*/ 312 h 515"/>
                <a:gd name="T22" fmla="*/ 30 w 397"/>
                <a:gd name="T23" fmla="*/ 140 h 515"/>
                <a:gd name="T24" fmla="*/ 210 w 397"/>
                <a:gd name="T25" fmla="*/ 10 h 515"/>
                <a:gd name="T26" fmla="*/ 376 w 397"/>
                <a:gd name="T27" fmla="*/ 17 h 515"/>
                <a:gd name="T28" fmla="*/ 397 w 397"/>
                <a:gd name="T29" fmla="*/ 25 h 515"/>
                <a:gd name="T30" fmla="*/ 371 w 397"/>
                <a:gd name="T31" fmla="*/ 112 h 5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97" h="515">
                  <a:moveTo>
                    <a:pt x="371" y="112"/>
                  </a:moveTo>
                  <a:cubicBezTo>
                    <a:pt x="328" y="94"/>
                    <a:pt x="284" y="89"/>
                    <a:pt x="238" y="99"/>
                  </a:cubicBezTo>
                  <a:cubicBezTo>
                    <a:pt x="174" y="112"/>
                    <a:pt x="130" y="164"/>
                    <a:pt x="125" y="230"/>
                  </a:cubicBezTo>
                  <a:cubicBezTo>
                    <a:pt x="123" y="258"/>
                    <a:pt x="123" y="284"/>
                    <a:pt x="130" y="310"/>
                  </a:cubicBezTo>
                  <a:cubicBezTo>
                    <a:pt x="148" y="374"/>
                    <a:pt x="197" y="415"/>
                    <a:pt x="266" y="417"/>
                  </a:cubicBezTo>
                  <a:cubicBezTo>
                    <a:pt x="284" y="417"/>
                    <a:pt x="302" y="417"/>
                    <a:pt x="320" y="415"/>
                  </a:cubicBezTo>
                  <a:cubicBezTo>
                    <a:pt x="338" y="412"/>
                    <a:pt x="353" y="407"/>
                    <a:pt x="374" y="402"/>
                  </a:cubicBezTo>
                  <a:cubicBezTo>
                    <a:pt x="379" y="430"/>
                    <a:pt x="384" y="458"/>
                    <a:pt x="389" y="492"/>
                  </a:cubicBezTo>
                  <a:cubicBezTo>
                    <a:pt x="374" y="494"/>
                    <a:pt x="358" y="499"/>
                    <a:pt x="343" y="502"/>
                  </a:cubicBezTo>
                  <a:cubicBezTo>
                    <a:pt x="282" y="515"/>
                    <a:pt x="220" y="515"/>
                    <a:pt x="161" y="494"/>
                  </a:cubicBezTo>
                  <a:cubicBezTo>
                    <a:pt x="74" y="463"/>
                    <a:pt x="23" y="402"/>
                    <a:pt x="10" y="312"/>
                  </a:cubicBezTo>
                  <a:cubicBezTo>
                    <a:pt x="0" y="253"/>
                    <a:pt x="5" y="194"/>
                    <a:pt x="30" y="140"/>
                  </a:cubicBezTo>
                  <a:cubicBezTo>
                    <a:pt x="69" y="66"/>
                    <a:pt x="130" y="25"/>
                    <a:pt x="210" y="10"/>
                  </a:cubicBezTo>
                  <a:cubicBezTo>
                    <a:pt x="266" y="0"/>
                    <a:pt x="323" y="2"/>
                    <a:pt x="376" y="17"/>
                  </a:cubicBezTo>
                  <a:cubicBezTo>
                    <a:pt x="384" y="20"/>
                    <a:pt x="389" y="23"/>
                    <a:pt x="397" y="25"/>
                  </a:cubicBezTo>
                  <a:cubicBezTo>
                    <a:pt x="387" y="53"/>
                    <a:pt x="379" y="84"/>
                    <a:pt x="371" y="112"/>
                  </a:cubicBezTo>
                  <a:close/>
                </a:path>
              </a:pathLst>
            </a:custGeom>
            <a:solidFill>
              <a:srgbClr val="EC1D2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" name="Freeform 16"/>
            <p:cNvSpPr>
              <a:spLocks noEditPoints="1"/>
            </p:cNvSpPr>
            <p:nvPr/>
          </p:nvSpPr>
          <p:spPr bwMode="auto">
            <a:xfrm>
              <a:off x="429" y="3970"/>
              <a:ext cx="53" cy="70"/>
            </a:xfrm>
            <a:custGeom>
              <a:avLst/>
              <a:gdLst>
                <a:gd name="T0" fmla="*/ 223 w 321"/>
                <a:gd name="T1" fmla="*/ 190 h 418"/>
                <a:gd name="T2" fmla="*/ 264 w 321"/>
                <a:gd name="T3" fmla="*/ 213 h 418"/>
                <a:gd name="T4" fmla="*/ 246 w 321"/>
                <a:gd name="T5" fmla="*/ 387 h 418"/>
                <a:gd name="T6" fmla="*/ 159 w 321"/>
                <a:gd name="T7" fmla="*/ 413 h 418"/>
                <a:gd name="T8" fmla="*/ 3 w 321"/>
                <a:gd name="T9" fmla="*/ 410 h 418"/>
                <a:gd name="T10" fmla="*/ 0 w 321"/>
                <a:gd name="T11" fmla="*/ 407 h 418"/>
                <a:gd name="T12" fmla="*/ 0 w 321"/>
                <a:gd name="T13" fmla="*/ 8 h 418"/>
                <a:gd name="T14" fmla="*/ 77 w 321"/>
                <a:gd name="T15" fmla="*/ 2 h 418"/>
                <a:gd name="T16" fmla="*/ 193 w 321"/>
                <a:gd name="T17" fmla="*/ 8 h 418"/>
                <a:gd name="T18" fmla="*/ 262 w 321"/>
                <a:gd name="T19" fmla="*/ 41 h 418"/>
                <a:gd name="T20" fmla="*/ 241 w 321"/>
                <a:gd name="T21" fmla="*/ 182 h 418"/>
                <a:gd name="T22" fmla="*/ 223 w 321"/>
                <a:gd name="T23" fmla="*/ 190 h 418"/>
                <a:gd name="T24" fmla="*/ 93 w 321"/>
                <a:gd name="T25" fmla="*/ 346 h 418"/>
                <a:gd name="T26" fmla="*/ 159 w 321"/>
                <a:gd name="T27" fmla="*/ 341 h 418"/>
                <a:gd name="T28" fmla="*/ 203 w 321"/>
                <a:gd name="T29" fmla="*/ 287 h 418"/>
                <a:gd name="T30" fmla="*/ 159 w 321"/>
                <a:gd name="T31" fmla="*/ 236 h 418"/>
                <a:gd name="T32" fmla="*/ 93 w 321"/>
                <a:gd name="T33" fmla="*/ 228 h 418"/>
                <a:gd name="T34" fmla="*/ 93 w 321"/>
                <a:gd name="T35" fmla="*/ 346 h 418"/>
                <a:gd name="T36" fmla="*/ 93 w 321"/>
                <a:gd name="T37" fmla="*/ 72 h 418"/>
                <a:gd name="T38" fmla="*/ 93 w 321"/>
                <a:gd name="T39" fmla="*/ 164 h 418"/>
                <a:gd name="T40" fmla="*/ 126 w 321"/>
                <a:gd name="T41" fmla="*/ 164 h 418"/>
                <a:gd name="T42" fmla="*/ 167 w 321"/>
                <a:gd name="T43" fmla="*/ 156 h 418"/>
                <a:gd name="T44" fmla="*/ 193 w 321"/>
                <a:gd name="T45" fmla="*/ 110 h 418"/>
                <a:gd name="T46" fmla="*/ 159 w 321"/>
                <a:gd name="T47" fmla="*/ 72 h 418"/>
                <a:gd name="T48" fmla="*/ 93 w 321"/>
                <a:gd name="T49" fmla="*/ 72 h 4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321" h="418">
                  <a:moveTo>
                    <a:pt x="223" y="190"/>
                  </a:moveTo>
                  <a:cubicBezTo>
                    <a:pt x="236" y="197"/>
                    <a:pt x="252" y="205"/>
                    <a:pt x="264" y="213"/>
                  </a:cubicBezTo>
                  <a:cubicBezTo>
                    <a:pt x="321" y="259"/>
                    <a:pt x="311" y="348"/>
                    <a:pt x="246" y="387"/>
                  </a:cubicBezTo>
                  <a:cubicBezTo>
                    <a:pt x="221" y="402"/>
                    <a:pt x="190" y="410"/>
                    <a:pt x="159" y="413"/>
                  </a:cubicBezTo>
                  <a:cubicBezTo>
                    <a:pt x="108" y="418"/>
                    <a:pt x="57" y="415"/>
                    <a:pt x="3" y="410"/>
                  </a:cubicBezTo>
                  <a:cubicBezTo>
                    <a:pt x="3" y="410"/>
                    <a:pt x="0" y="410"/>
                    <a:pt x="0" y="407"/>
                  </a:cubicBezTo>
                  <a:cubicBezTo>
                    <a:pt x="0" y="277"/>
                    <a:pt x="0" y="143"/>
                    <a:pt x="0" y="8"/>
                  </a:cubicBezTo>
                  <a:cubicBezTo>
                    <a:pt x="26" y="5"/>
                    <a:pt x="52" y="2"/>
                    <a:pt x="77" y="2"/>
                  </a:cubicBezTo>
                  <a:cubicBezTo>
                    <a:pt x="116" y="0"/>
                    <a:pt x="154" y="0"/>
                    <a:pt x="193" y="8"/>
                  </a:cubicBezTo>
                  <a:cubicBezTo>
                    <a:pt x="218" y="13"/>
                    <a:pt x="244" y="23"/>
                    <a:pt x="262" y="41"/>
                  </a:cubicBezTo>
                  <a:cubicBezTo>
                    <a:pt x="303" y="84"/>
                    <a:pt x="293" y="151"/>
                    <a:pt x="241" y="182"/>
                  </a:cubicBezTo>
                  <a:cubicBezTo>
                    <a:pt x="234" y="184"/>
                    <a:pt x="229" y="187"/>
                    <a:pt x="223" y="190"/>
                  </a:cubicBezTo>
                  <a:close/>
                  <a:moveTo>
                    <a:pt x="93" y="346"/>
                  </a:moveTo>
                  <a:cubicBezTo>
                    <a:pt x="116" y="346"/>
                    <a:pt x="136" y="348"/>
                    <a:pt x="159" y="341"/>
                  </a:cubicBezTo>
                  <a:cubicBezTo>
                    <a:pt x="188" y="333"/>
                    <a:pt x="203" y="315"/>
                    <a:pt x="203" y="287"/>
                  </a:cubicBezTo>
                  <a:cubicBezTo>
                    <a:pt x="203" y="261"/>
                    <a:pt x="190" y="243"/>
                    <a:pt x="159" y="236"/>
                  </a:cubicBezTo>
                  <a:cubicBezTo>
                    <a:pt x="139" y="231"/>
                    <a:pt x="116" y="231"/>
                    <a:pt x="93" y="228"/>
                  </a:cubicBezTo>
                  <a:cubicBezTo>
                    <a:pt x="93" y="269"/>
                    <a:pt x="93" y="307"/>
                    <a:pt x="93" y="346"/>
                  </a:cubicBezTo>
                  <a:close/>
                  <a:moveTo>
                    <a:pt x="93" y="72"/>
                  </a:moveTo>
                  <a:cubicBezTo>
                    <a:pt x="93" y="102"/>
                    <a:pt x="93" y="133"/>
                    <a:pt x="93" y="164"/>
                  </a:cubicBezTo>
                  <a:cubicBezTo>
                    <a:pt x="103" y="164"/>
                    <a:pt x="116" y="166"/>
                    <a:pt x="126" y="164"/>
                  </a:cubicBezTo>
                  <a:cubicBezTo>
                    <a:pt x="141" y="161"/>
                    <a:pt x="154" y="161"/>
                    <a:pt x="167" y="156"/>
                  </a:cubicBezTo>
                  <a:cubicBezTo>
                    <a:pt x="188" y="146"/>
                    <a:pt x="195" y="131"/>
                    <a:pt x="193" y="110"/>
                  </a:cubicBezTo>
                  <a:cubicBezTo>
                    <a:pt x="193" y="92"/>
                    <a:pt x="180" y="77"/>
                    <a:pt x="159" y="72"/>
                  </a:cubicBezTo>
                  <a:cubicBezTo>
                    <a:pt x="136" y="66"/>
                    <a:pt x="116" y="69"/>
                    <a:pt x="93" y="72"/>
                  </a:cubicBezTo>
                  <a:close/>
                </a:path>
              </a:pathLst>
            </a:custGeom>
            <a:solidFill>
              <a:srgbClr val="22419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" name="Freeform 17"/>
            <p:cNvSpPr>
              <a:spLocks noEditPoints="1"/>
            </p:cNvSpPr>
            <p:nvPr/>
          </p:nvSpPr>
          <p:spPr bwMode="auto">
            <a:xfrm>
              <a:off x="361" y="3969"/>
              <a:ext cx="65" cy="71"/>
            </a:xfrm>
            <a:custGeom>
              <a:avLst/>
              <a:gdLst>
                <a:gd name="T0" fmla="*/ 197 w 400"/>
                <a:gd name="T1" fmla="*/ 423 h 423"/>
                <a:gd name="T2" fmla="*/ 8 w 400"/>
                <a:gd name="T3" fmla="*/ 259 h 423"/>
                <a:gd name="T4" fmla="*/ 26 w 400"/>
                <a:gd name="T5" fmla="*/ 113 h 423"/>
                <a:gd name="T6" fmla="*/ 213 w 400"/>
                <a:gd name="T7" fmla="*/ 2 h 423"/>
                <a:gd name="T8" fmla="*/ 395 w 400"/>
                <a:gd name="T9" fmla="*/ 184 h 423"/>
                <a:gd name="T10" fmla="*/ 372 w 400"/>
                <a:gd name="T11" fmla="*/ 320 h 423"/>
                <a:gd name="T12" fmla="*/ 203 w 400"/>
                <a:gd name="T13" fmla="*/ 423 h 423"/>
                <a:gd name="T14" fmla="*/ 197 w 400"/>
                <a:gd name="T15" fmla="*/ 423 h 423"/>
                <a:gd name="T16" fmla="*/ 103 w 400"/>
                <a:gd name="T17" fmla="*/ 210 h 423"/>
                <a:gd name="T18" fmla="*/ 121 w 400"/>
                <a:gd name="T19" fmla="*/ 297 h 423"/>
                <a:gd name="T20" fmla="*/ 200 w 400"/>
                <a:gd name="T21" fmla="*/ 348 h 423"/>
                <a:gd name="T22" fmla="*/ 280 w 400"/>
                <a:gd name="T23" fmla="*/ 297 h 423"/>
                <a:gd name="T24" fmla="*/ 297 w 400"/>
                <a:gd name="T25" fmla="*/ 200 h 423"/>
                <a:gd name="T26" fmla="*/ 269 w 400"/>
                <a:gd name="T27" fmla="*/ 113 h 423"/>
                <a:gd name="T28" fmla="*/ 133 w 400"/>
                <a:gd name="T29" fmla="*/ 110 h 423"/>
                <a:gd name="T30" fmla="*/ 103 w 400"/>
                <a:gd name="T31" fmla="*/ 210 h 4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400" h="423">
                  <a:moveTo>
                    <a:pt x="197" y="423"/>
                  </a:moveTo>
                  <a:cubicBezTo>
                    <a:pt x="98" y="423"/>
                    <a:pt x="23" y="359"/>
                    <a:pt x="8" y="259"/>
                  </a:cubicBezTo>
                  <a:cubicBezTo>
                    <a:pt x="0" y="210"/>
                    <a:pt x="5" y="159"/>
                    <a:pt x="26" y="113"/>
                  </a:cubicBezTo>
                  <a:cubicBezTo>
                    <a:pt x="59" y="38"/>
                    <a:pt x="131" y="0"/>
                    <a:pt x="213" y="2"/>
                  </a:cubicBezTo>
                  <a:cubicBezTo>
                    <a:pt x="323" y="7"/>
                    <a:pt x="387" y="87"/>
                    <a:pt x="395" y="184"/>
                  </a:cubicBezTo>
                  <a:cubicBezTo>
                    <a:pt x="400" y="230"/>
                    <a:pt x="395" y="279"/>
                    <a:pt x="372" y="320"/>
                  </a:cubicBezTo>
                  <a:cubicBezTo>
                    <a:pt x="336" y="389"/>
                    <a:pt x="277" y="420"/>
                    <a:pt x="203" y="423"/>
                  </a:cubicBezTo>
                  <a:cubicBezTo>
                    <a:pt x="200" y="423"/>
                    <a:pt x="200" y="423"/>
                    <a:pt x="197" y="423"/>
                  </a:cubicBezTo>
                  <a:close/>
                  <a:moveTo>
                    <a:pt x="103" y="210"/>
                  </a:moveTo>
                  <a:cubicBezTo>
                    <a:pt x="103" y="243"/>
                    <a:pt x="108" y="271"/>
                    <a:pt x="121" y="297"/>
                  </a:cubicBezTo>
                  <a:cubicBezTo>
                    <a:pt x="139" y="330"/>
                    <a:pt x="164" y="348"/>
                    <a:pt x="200" y="348"/>
                  </a:cubicBezTo>
                  <a:cubicBezTo>
                    <a:pt x="239" y="348"/>
                    <a:pt x="264" y="330"/>
                    <a:pt x="280" y="297"/>
                  </a:cubicBezTo>
                  <a:cubicBezTo>
                    <a:pt x="295" y="266"/>
                    <a:pt x="300" y="233"/>
                    <a:pt x="297" y="200"/>
                  </a:cubicBezTo>
                  <a:cubicBezTo>
                    <a:pt x="297" y="169"/>
                    <a:pt x="290" y="138"/>
                    <a:pt x="269" y="113"/>
                  </a:cubicBezTo>
                  <a:cubicBezTo>
                    <a:pt x="236" y="64"/>
                    <a:pt x="169" y="64"/>
                    <a:pt x="133" y="110"/>
                  </a:cubicBezTo>
                  <a:cubicBezTo>
                    <a:pt x="110" y="141"/>
                    <a:pt x="103" y="177"/>
                    <a:pt x="103" y="210"/>
                  </a:cubicBezTo>
                  <a:close/>
                </a:path>
              </a:pathLst>
            </a:custGeom>
            <a:solidFill>
              <a:srgbClr val="22419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" name="Freeform 18"/>
            <p:cNvSpPr>
              <a:spLocks/>
            </p:cNvSpPr>
            <p:nvPr/>
          </p:nvSpPr>
          <p:spPr bwMode="auto">
            <a:xfrm>
              <a:off x="475" y="3969"/>
              <a:ext cx="52" cy="71"/>
            </a:xfrm>
            <a:custGeom>
              <a:avLst/>
              <a:gdLst>
                <a:gd name="T0" fmla="*/ 18 w 315"/>
                <a:gd name="T1" fmla="*/ 395 h 423"/>
                <a:gd name="T2" fmla="*/ 36 w 315"/>
                <a:gd name="T3" fmla="*/ 321 h 423"/>
                <a:gd name="T4" fmla="*/ 90 w 315"/>
                <a:gd name="T5" fmla="*/ 336 h 423"/>
                <a:gd name="T6" fmla="*/ 166 w 315"/>
                <a:gd name="T7" fmla="*/ 341 h 423"/>
                <a:gd name="T8" fmla="*/ 202 w 315"/>
                <a:gd name="T9" fmla="*/ 295 h 423"/>
                <a:gd name="T10" fmla="*/ 182 w 315"/>
                <a:gd name="T11" fmla="*/ 267 h 423"/>
                <a:gd name="T12" fmla="*/ 138 w 315"/>
                <a:gd name="T13" fmla="*/ 244 h 423"/>
                <a:gd name="T14" fmla="*/ 74 w 315"/>
                <a:gd name="T15" fmla="*/ 213 h 423"/>
                <a:gd name="T16" fmla="*/ 79 w 315"/>
                <a:gd name="T17" fmla="*/ 23 h 423"/>
                <a:gd name="T18" fmla="*/ 169 w 315"/>
                <a:gd name="T19" fmla="*/ 0 h 423"/>
                <a:gd name="T20" fmla="*/ 274 w 315"/>
                <a:gd name="T21" fmla="*/ 18 h 423"/>
                <a:gd name="T22" fmla="*/ 282 w 315"/>
                <a:gd name="T23" fmla="*/ 21 h 423"/>
                <a:gd name="T24" fmla="*/ 261 w 315"/>
                <a:gd name="T25" fmla="*/ 95 h 423"/>
                <a:gd name="T26" fmla="*/ 218 w 315"/>
                <a:gd name="T27" fmla="*/ 82 h 423"/>
                <a:gd name="T28" fmla="*/ 148 w 315"/>
                <a:gd name="T29" fmla="*/ 80 h 423"/>
                <a:gd name="T30" fmla="*/ 120 w 315"/>
                <a:gd name="T31" fmla="*/ 126 h 423"/>
                <a:gd name="T32" fmla="*/ 141 w 315"/>
                <a:gd name="T33" fmla="*/ 149 h 423"/>
                <a:gd name="T34" fmla="*/ 197 w 315"/>
                <a:gd name="T35" fmla="*/ 175 h 423"/>
                <a:gd name="T36" fmla="*/ 261 w 315"/>
                <a:gd name="T37" fmla="*/ 210 h 423"/>
                <a:gd name="T38" fmla="*/ 251 w 315"/>
                <a:gd name="T39" fmla="*/ 387 h 423"/>
                <a:gd name="T40" fmla="*/ 161 w 315"/>
                <a:gd name="T41" fmla="*/ 418 h 423"/>
                <a:gd name="T42" fmla="*/ 28 w 315"/>
                <a:gd name="T43" fmla="*/ 400 h 423"/>
                <a:gd name="T44" fmla="*/ 18 w 315"/>
                <a:gd name="T45" fmla="*/ 395 h 4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5" h="423">
                  <a:moveTo>
                    <a:pt x="18" y="395"/>
                  </a:moveTo>
                  <a:cubicBezTo>
                    <a:pt x="25" y="369"/>
                    <a:pt x="31" y="344"/>
                    <a:pt x="36" y="321"/>
                  </a:cubicBezTo>
                  <a:cubicBezTo>
                    <a:pt x="54" y="326"/>
                    <a:pt x="72" y="334"/>
                    <a:pt x="90" y="336"/>
                  </a:cubicBezTo>
                  <a:cubicBezTo>
                    <a:pt x="115" y="344"/>
                    <a:pt x="141" y="346"/>
                    <a:pt x="166" y="341"/>
                  </a:cubicBezTo>
                  <a:cubicBezTo>
                    <a:pt x="192" y="334"/>
                    <a:pt x="205" y="318"/>
                    <a:pt x="202" y="295"/>
                  </a:cubicBezTo>
                  <a:cubicBezTo>
                    <a:pt x="202" y="282"/>
                    <a:pt x="195" y="272"/>
                    <a:pt x="182" y="267"/>
                  </a:cubicBezTo>
                  <a:cubicBezTo>
                    <a:pt x="169" y="257"/>
                    <a:pt x="154" y="251"/>
                    <a:pt x="138" y="244"/>
                  </a:cubicBezTo>
                  <a:cubicBezTo>
                    <a:pt x="115" y="234"/>
                    <a:pt x="95" y="226"/>
                    <a:pt x="74" y="213"/>
                  </a:cubicBezTo>
                  <a:cubicBezTo>
                    <a:pt x="0" y="164"/>
                    <a:pt x="13" y="64"/>
                    <a:pt x="79" y="23"/>
                  </a:cubicBezTo>
                  <a:cubicBezTo>
                    <a:pt x="107" y="8"/>
                    <a:pt x="138" y="0"/>
                    <a:pt x="169" y="0"/>
                  </a:cubicBezTo>
                  <a:cubicBezTo>
                    <a:pt x="205" y="0"/>
                    <a:pt x="241" y="3"/>
                    <a:pt x="274" y="18"/>
                  </a:cubicBezTo>
                  <a:cubicBezTo>
                    <a:pt x="277" y="18"/>
                    <a:pt x="279" y="21"/>
                    <a:pt x="282" y="21"/>
                  </a:cubicBezTo>
                  <a:cubicBezTo>
                    <a:pt x="274" y="46"/>
                    <a:pt x="269" y="69"/>
                    <a:pt x="261" y="95"/>
                  </a:cubicBezTo>
                  <a:cubicBezTo>
                    <a:pt x="246" y="90"/>
                    <a:pt x="233" y="85"/>
                    <a:pt x="218" y="82"/>
                  </a:cubicBezTo>
                  <a:cubicBezTo>
                    <a:pt x="195" y="75"/>
                    <a:pt x="172" y="75"/>
                    <a:pt x="148" y="80"/>
                  </a:cubicBezTo>
                  <a:cubicBezTo>
                    <a:pt x="125" y="87"/>
                    <a:pt x="110" y="105"/>
                    <a:pt x="120" y="126"/>
                  </a:cubicBezTo>
                  <a:cubicBezTo>
                    <a:pt x="123" y="134"/>
                    <a:pt x="133" y="144"/>
                    <a:pt x="141" y="149"/>
                  </a:cubicBezTo>
                  <a:cubicBezTo>
                    <a:pt x="159" y="159"/>
                    <a:pt x="179" y="167"/>
                    <a:pt x="197" y="175"/>
                  </a:cubicBezTo>
                  <a:cubicBezTo>
                    <a:pt x="220" y="182"/>
                    <a:pt x="243" y="195"/>
                    <a:pt x="261" y="210"/>
                  </a:cubicBezTo>
                  <a:cubicBezTo>
                    <a:pt x="315" y="257"/>
                    <a:pt x="310" y="344"/>
                    <a:pt x="251" y="387"/>
                  </a:cubicBezTo>
                  <a:cubicBezTo>
                    <a:pt x="225" y="408"/>
                    <a:pt x="195" y="416"/>
                    <a:pt x="161" y="418"/>
                  </a:cubicBezTo>
                  <a:cubicBezTo>
                    <a:pt x="115" y="423"/>
                    <a:pt x="72" y="418"/>
                    <a:pt x="28" y="400"/>
                  </a:cubicBezTo>
                  <a:cubicBezTo>
                    <a:pt x="25" y="398"/>
                    <a:pt x="23" y="398"/>
                    <a:pt x="18" y="395"/>
                  </a:cubicBezTo>
                  <a:close/>
                </a:path>
              </a:pathLst>
            </a:custGeom>
            <a:solidFill>
              <a:srgbClr val="22419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" name="Freeform 19"/>
            <p:cNvSpPr>
              <a:spLocks/>
            </p:cNvSpPr>
            <p:nvPr/>
          </p:nvSpPr>
          <p:spPr bwMode="auto">
            <a:xfrm>
              <a:off x="456" y="3875"/>
              <a:ext cx="19" cy="82"/>
            </a:xfrm>
            <a:custGeom>
              <a:avLst/>
              <a:gdLst>
                <a:gd name="T0" fmla="*/ 110 w 110"/>
                <a:gd name="T1" fmla="*/ 0 h 492"/>
                <a:gd name="T2" fmla="*/ 110 w 110"/>
                <a:gd name="T3" fmla="*/ 492 h 492"/>
                <a:gd name="T4" fmla="*/ 0 w 110"/>
                <a:gd name="T5" fmla="*/ 492 h 492"/>
                <a:gd name="T6" fmla="*/ 0 w 110"/>
                <a:gd name="T7" fmla="*/ 0 h 492"/>
                <a:gd name="T8" fmla="*/ 110 w 110"/>
                <a:gd name="T9" fmla="*/ 0 h 4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0" h="492">
                  <a:moveTo>
                    <a:pt x="110" y="0"/>
                  </a:moveTo>
                  <a:cubicBezTo>
                    <a:pt x="110" y="166"/>
                    <a:pt x="110" y="328"/>
                    <a:pt x="110" y="492"/>
                  </a:cubicBezTo>
                  <a:cubicBezTo>
                    <a:pt x="74" y="492"/>
                    <a:pt x="36" y="492"/>
                    <a:pt x="0" y="492"/>
                  </a:cubicBezTo>
                  <a:cubicBezTo>
                    <a:pt x="0" y="328"/>
                    <a:pt x="0" y="164"/>
                    <a:pt x="0" y="0"/>
                  </a:cubicBezTo>
                  <a:cubicBezTo>
                    <a:pt x="36" y="0"/>
                    <a:pt x="74" y="0"/>
                    <a:pt x="110" y="0"/>
                  </a:cubicBezTo>
                  <a:close/>
                </a:path>
              </a:pathLst>
            </a:custGeom>
            <a:solidFill>
              <a:srgbClr val="EC1D2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" name="Freeform 20"/>
            <p:cNvSpPr>
              <a:spLocks/>
            </p:cNvSpPr>
            <p:nvPr/>
          </p:nvSpPr>
          <p:spPr bwMode="auto">
            <a:xfrm>
              <a:off x="323" y="3971"/>
              <a:ext cx="35" cy="69"/>
            </a:xfrm>
            <a:custGeom>
              <a:avLst/>
              <a:gdLst>
                <a:gd name="T0" fmla="*/ 0 w 212"/>
                <a:gd name="T1" fmla="*/ 402 h 415"/>
                <a:gd name="T2" fmla="*/ 10 w 212"/>
                <a:gd name="T3" fmla="*/ 331 h 415"/>
                <a:gd name="T4" fmla="*/ 61 w 212"/>
                <a:gd name="T5" fmla="*/ 336 h 415"/>
                <a:gd name="T6" fmla="*/ 117 w 212"/>
                <a:gd name="T7" fmla="*/ 285 h 415"/>
                <a:gd name="T8" fmla="*/ 120 w 212"/>
                <a:gd name="T9" fmla="*/ 249 h 415"/>
                <a:gd name="T10" fmla="*/ 120 w 212"/>
                <a:gd name="T11" fmla="*/ 13 h 415"/>
                <a:gd name="T12" fmla="*/ 120 w 212"/>
                <a:gd name="T13" fmla="*/ 0 h 415"/>
                <a:gd name="T14" fmla="*/ 212 w 212"/>
                <a:gd name="T15" fmla="*/ 0 h 415"/>
                <a:gd name="T16" fmla="*/ 212 w 212"/>
                <a:gd name="T17" fmla="*/ 10 h 415"/>
                <a:gd name="T18" fmla="*/ 212 w 212"/>
                <a:gd name="T19" fmla="*/ 261 h 415"/>
                <a:gd name="T20" fmla="*/ 202 w 212"/>
                <a:gd name="T21" fmla="*/ 331 h 415"/>
                <a:gd name="T22" fmla="*/ 123 w 212"/>
                <a:gd name="T23" fmla="*/ 405 h 415"/>
                <a:gd name="T24" fmla="*/ 0 w 212"/>
                <a:gd name="T25" fmla="*/ 402 h 4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12" h="415">
                  <a:moveTo>
                    <a:pt x="0" y="402"/>
                  </a:moveTo>
                  <a:cubicBezTo>
                    <a:pt x="5" y="377"/>
                    <a:pt x="7" y="354"/>
                    <a:pt x="10" y="331"/>
                  </a:cubicBezTo>
                  <a:cubicBezTo>
                    <a:pt x="28" y="331"/>
                    <a:pt x="43" y="333"/>
                    <a:pt x="61" y="336"/>
                  </a:cubicBezTo>
                  <a:cubicBezTo>
                    <a:pt x="94" y="336"/>
                    <a:pt x="112" y="318"/>
                    <a:pt x="117" y="285"/>
                  </a:cubicBezTo>
                  <a:cubicBezTo>
                    <a:pt x="120" y="272"/>
                    <a:pt x="120" y="259"/>
                    <a:pt x="120" y="249"/>
                  </a:cubicBezTo>
                  <a:cubicBezTo>
                    <a:pt x="120" y="169"/>
                    <a:pt x="120" y="90"/>
                    <a:pt x="120" y="13"/>
                  </a:cubicBezTo>
                  <a:cubicBezTo>
                    <a:pt x="120" y="8"/>
                    <a:pt x="120" y="5"/>
                    <a:pt x="120" y="0"/>
                  </a:cubicBezTo>
                  <a:cubicBezTo>
                    <a:pt x="151" y="0"/>
                    <a:pt x="182" y="0"/>
                    <a:pt x="212" y="0"/>
                  </a:cubicBezTo>
                  <a:cubicBezTo>
                    <a:pt x="212" y="3"/>
                    <a:pt x="212" y="8"/>
                    <a:pt x="212" y="10"/>
                  </a:cubicBezTo>
                  <a:cubicBezTo>
                    <a:pt x="212" y="95"/>
                    <a:pt x="212" y="177"/>
                    <a:pt x="212" y="261"/>
                  </a:cubicBezTo>
                  <a:cubicBezTo>
                    <a:pt x="212" y="285"/>
                    <a:pt x="207" y="308"/>
                    <a:pt x="202" y="331"/>
                  </a:cubicBezTo>
                  <a:cubicBezTo>
                    <a:pt x="189" y="369"/>
                    <a:pt x="164" y="395"/>
                    <a:pt x="123" y="405"/>
                  </a:cubicBezTo>
                  <a:cubicBezTo>
                    <a:pt x="82" y="415"/>
                    <a:pt x="43" y="413"/>
                    <a:pt x="0" y="402"/>
                  </a:cubicBezTo>
                  <a:close/>
                </a:path>
              </a:pathLst>
            </a:custGeom>
            <a:solidFill>
              <a:srgbClr val="22419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" name="Freeform 21"/>
            <p:cNvSpPr>
              <a:spLocks/>
            </p:cNvSpPr>
            <p:nvPr/>
          </p:nvSpPr>
          <p:spPr bwMode="auto">
            <a:xfrm>
              <a:off x="554" y="3820"/>
              <a:ext cx="28" cy="36"/>
            </a:xfrm>
            <a:custGeom>
              <a:avLst/>
              <a:gdLst>
                <a:gd name="T0" fmla="*/ 36 w 169"/>
                <a:gd name="T1" fmla="*/ 56 h 218"/>
                <a:gd name="T2" fmla="*/ 36 w 169"/>
                <a:gd name="T3" fmla="*/ 218 h 218"/>
                <a:gd name="T4" fmla="*/ 0 w 169"/>
                <a:gd name="T5" fmla="*/ 218 h 218"/>
                <a:gd name="T6" fmla="*/ 0 w 169"/>
                <a:gd name="T7" fmla="*/ 0 h 218"/>
                <a:gd name="T8" fmla="*/ 41 w 169"/>
                <a:gd name="T9" fmla="*/ 0 h 218"/>
                <a:gd name="T10" fmla="*/ 49 w 169"/>
                <a:gd name="T11" fmla="*/ 8 h 218"/>
                <a:gd name="T12" fmla="*/ 133 w 169"/>
                <a:gd name="T13" fmla="*/ 156 h 218"/>
                <a:gd name="T14" fmla="*/ 133 w 169"/>
                <a:gd name="T15" fmla="*/ 156 h 218"/>
                <a:gd name="T16" fmla="*/ 133 w 169"/>
                <a:gd name="T17" fmla="*/ 3 h 218"/>
                <a:gd name="T18" fmla="*/ 169 w 169"/>
                <a:gd name="T19" fmla="*/ 3 h 218"/>
                <a:gd name="T20" fmla="*/ 169 w 169"/>
                <a:gd name="T21" fmla="*/ 218 h 218"/>
                <a:gd name="T22" fmla="*/ 133 w 169"/>
                <a:gd name="T23" fmla="*/ 218 h 218"/>
                <a:gd name="T24" fmla="*/ 126 w 169"/>
                <a:gd name="T25" fmla="*/ 210 h 218"/>
                <a:gd name="T26" fmla="*/ 36 w 169"/>
                <a:gd name="T27" fmla="*/ 56 h 2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69" h="218">
                  <a:moveTo>
                    <a:pt x="36" y="56"/>
                  </a:moveTo>
                  <a:cubicBezTo>
                    <a:pt x="36" y="108"/>
                    <a:pt x="36" y="162"/>
                    <a:pt x="36" y="218"/>
                  </a:cubicBezTo>
                  <a:cubicBezTo>
                    <a:pt x="23" y="218"/>
                    <a:pt x="13" y="218"/>
                    <a:pt x="0" y="218"/>
                  </a:cubicBezTo>
                  <a:cubicBezTo>
                    <a:pt x="0" y="146"/>
                    <a:pt x="0" y="74"/>
                    <a:pt x="0" y="0"/>
                  </a:cubicBezTo>
                  <a:cubicBezTo>
                    <a:pt x="13" y="0"/>
                    <a:pt x="28" y="0"/>
                    <a:pt x="41" y="0"/>
                  </a:cubicBezTo>
                  <a:cubicBezTo>
                    <a:pt x="44" y="3"/>
                    <a:pt x="46" y="5"/>
                    <a:pt x="49" y="8"/>
                  </a:cubicBezTo>
                  <a:cubicBezTo>
                    <a:pt x="77" y="59"/>
                    <a:pt x="105" y="108"/>
                    <a:pt x="133" y="156"/>
                  </a:cubicBezTo>
                  <a:cubicBezTo>
                    <a:pt x="133" y="156"/>
                    <a:pt x="133" y="156"/>
                    <a:pt x="133" y="156"/>
                  </a:cubicBezTo>
                  <a:cubicBezTo>
                    <a:pt x="133" y="105"/>
                    <a:pt x="133" y="54"/>
                    <a:pt x="133" y="3"/>
                  </a:cubicBezTo>
                  <a:cubicBezTo>
                    <a:pt x="146" y="3"/>
                    <a:pt x="157" y="3"/>
                    <a:pt x="169" y="3"/>
                  </a:cubicBezTo>
                  <a:cubicBezTo>
                    <a:pt x="169" y="72"/>
                    <a:pt x="169" y="144"/>
                    <a:pt x="169" y="218"/>
                  </a:cubicBezTo>
                  <a:cubicBezTo>
                    <a:pt x="157" y="218"/>
                    <a:pt x="146" y="218"/>
                    <a:pt x="133" y="218"/>
                  </a:cubicBezTo>
                  <a:cubicBezTo>
                    <a:pt x="131" y="218"/>
                    <a:pt x="126" y="213"/>
                    <a:pt x="126" y="210"/>
                  </a:cubicBezTo>
                  <a:cubicBezTo>
                    <a:pt x="95" y="159"/>
                    <a:pt x="64" y="108"/>
                    <a:pt x="36" y="56"/>
                  </a:cubicBezTo>
                  <a:close/>
                </a:path>
              </a:pathLst>
            </a:custGeom>
            <a:solidFill>
              <a:srgbClr val="22419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" name="Freeform 22"/>
            <p:cNvSpPr>
              <a:spLocks/>
            </p:cNvSpPr>
            <p:nvPr/>
          </p:nvSpPr>
          <p:spPr bwMode="auto">
            <a:xfrm>
              <a:off x="448" y="3820"/>
              <a:ext cx="28" cy="36"/>
            </a:xfrm>
            <a:custGeom>
              <a:avLst/>
              <a:gdLst>
                <a:gd name="T0" fmla="*/ 33 w 169"/>
                <a:gd name="T1" fmla="*/ 218 h 218"/>
                <a:gd name="T2" fmla="*/ 0 w 169"/>
                <a:gd name="T3" fmla="*/ 218 h 218"/>
                <a:gd name="T4" fmla="*/ 0 w 169"/>
                <a:gd name="T5" fmla="*/ 0 h 218"/>
                <a:gd name="T6" fmla="*/ 41 w 169"/>
                <a:gd name="T7" fmla="*/ 0 h 218"/>
                <a:gd name="T8" fmla="*/ 48 w 169"/>
                <a:gd name="T9" fmla="*/ 8 h 218"/>
                <a:gd name="T10" fmla="*/ 133 w 169"/>
                <a:gd name="T11" fmla="*/ 154 h 218"/>
                <a:gd name="T12" fmla="*/ 133 w 169"/>
                <a:gd name="T13" fmla="*/ 3 h 218"/>
                <a:gd name="T14" fmla="*/ 169 w 169"/>
                <a:gd name="T15" fmla="*/ 3 h 218"/>
                <a:gd name="T16" fmla="*/ 169 w 169"/>
                <a:gd name="T17" fmla="*/ 218 h 218"/>
                <a:gd name="T18" fmla="*/ 130 w 169"/>
                <a:gd name="T19" fmla="*/ 218 h 218"/>
                <a:gd name="T20" fmla="*/ 125 w 169"/>
                <a:gd name="T21" fmla="*/ 210 h 218"/>
                <a:gd name="T22" fmla="*/ 33 w 169"/>
                <a:gd name="T23" fmla="*/ 56 h 218"/>
                <a:gd name="T24" fmla="*/ 33 w 169"/>
                <a:gd name="T25" fmla="*/ 218 h 2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69" h="218">
                  <a:moveTo>
                    <a:pt x="33" y="218"/>
                  </a:moveTo>
                  <a:cubicBezTo>
                    <a:pt x="23" y="218"/>
                    <a:pt x="10" y="218"/>
                    <a:pt x="0" y="218"/>
                  </a:cubicBezTo>
                  <a:cubicBezTo>
                    <a:pt x="0" y="146"/>
                    <a:pt x="0" y="74"/>
                    <a:pt x="0" y="0"/>
                  </a:cubicBezTo>
                  <a:cubicBezTo>
                    <a:pt x="13" y="0"/>
                    <a:pt x="25" y="0"/>
                    <a:pt x="41" y="0"/>
                  </a:cubicBezTo>
                  <a:cubicBezTo>
                    <a:pt x="43" y="3"/>
                    <a:pt x="46" y="5"/>
                    <a:pt x="48" y="8"/>
                  </a:cubicBezTo>
                  <a:cubicBezTo>
                    <a:pt x="77" y="59"/>
                    <a:pt x="107" y="108"/>
                    <a:pt x="133" y="154"/>
                  </a:cubicBezTo>
                  <a:cubicBezTo>
                    <a:pt x="133" y="108"/>
                    <a:pt x="133" y="54"/>
                    <a:pt x="133" y="3"/>
                  </a:cubicBezTo>
                  <a:cubicBezTo>
                    <a:pt x="146" y="3"/>
                    <a:pt x="156" y="3"/>
                    <a:pt x="169" y="3"/>
                  </a:cubicBezTo>
                  <a:cubicBezTo>
                    <a:pt x="169" y="74"/>
                    <a:pt x="169" y="144"/>
                    <a:pt x="169" y="218"/>
                  </a:cubicBezTo>
                  <a:cubicBezTo>
                    <a:pt x="156" y="218"/>
                    <a:pt x="143" y="218"/>
                    <a:pt x="130" y="218"/>
                  </a:cubicBezTo>
                  <a:cubicBezTo>
                    <a:pt x="128" y="218"/>
                    <a:pt x="125" y="213"/>
                    <a:pt x="125" y="210"/>
                  </a:cubicBezTo>
                  <a:cubicBezTo>
                    <a:pt x="95" y="159"/>
                    <a:pt x="64" y="105"/>
                    <a:pt x="33" y="56"/>
                  </a:cubicBezTo>
                  <a:cubicBezTo>
                    <a:pt x="33" y="108"/>
                    <a:pt x="33" y="162"/>
                    <a:pt x="33" y="218"/>
                  </a:cubicBezTo>
                  <a:close/>
                </a:path>
              </a:pathLst>
            </a:custGeom>
            <a:solidFill>
              <a:srgbClr val="22419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" name="Freeform 23"/>
            <p:cNvSpPr>
              <a:spLocks/>
            </p:cNvSpPr>
            <p:nvPr/>
          </p:nvSpPr>
          <p:spPr bwMode="auto">
            <a:xfrm>
              <a:off x="286" y="3820"/>
              <a:ext cx="28" cy="36"/>
            </a:xfrm>
            <a:custGeom>
              <a:avLst/>
              <a:gdLst>
                <a:gd name="T0" fmla="*/ 134 w 170"/>
                <a:gd name="T1" fmla="*/ 154 h 218"/>
                <a:gd name="T2" fmla="*/ 134 w 170"/>
                <a:gd name="T3" fmla="*/ 3 h 218"/>
                <a:gd name="T4" fmla="*/ 170 w 170"/>
                <a:gd name="T5" fmla="*/ 3 h 218"/>
                <a:gd name="T6" fmla="*/ 170 w 170"/>
                <a:gd name="T7" fmla="*/ 218 h 218"/>
                <a:gd name="T8" fmla="*/ 131 w 170"/>
                <a:gd name="T9" fmla="*/ 218 h 218"/>
                <a:gd name="T10" fmla="*/ 123 w 170"/>
                <a:gd name="T11" fmla="*/ 208 h 218"/>
                <a:gd name="T12" fmla="*/ 36 w 170"/>
                <a:gd name="T13" fmla="*/ 56 h 218"/>
                <a:gd name="T14" fmla="*/ 36 w 170"/>
                <a:gd name="T15" fmla="*/ 218 h 218"/>
                <a:gd name="T16" fmla="*/ 0 w 170"/>
                <a:gd name="T17" fmla="*/ 218 h 218"/>
                <a:gd name="T18" fmla="*/ 0 w 170"/>
                <a:gd name="T19" fmla="*/ 0 h 218"/>
                <a:gd name="T20" fmla="*/ 41 w 170"/>
                <a:gd name="T21" fmla="*/ 3 h 218"/>
                <a:gd name="T22" fmla="*/ 49 w 170"/>
                <a:gd name="T23" fmla="*/ 10 h 218"/>
                <a:gd name="T24" fmla="*/ 134 w 170"/>
                <a:gd name="T25" fmla="*/ 154 h 2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70" h="218">
                  <a:moveTo>
                    <a:pt x="134" y="154"/>
                  </a:moveTo>
                  <a:cubicBezTo>
                    <a:pt x="134" y="108"/>
                    <a:pt x="134" y="54"/>
                    <a:pt x="134" y="3"/>
                  </a:cubicBezTo>
                  <a:cubicBezTo>
                    <a:pt x="146" y="3"/>
                    <a:pt x="157" y="3"/>
                    <a:pt x="170" y="3"/>
                  </a:cubicBezTo>
                  <a:cubicBezTo>
                    <a:pt x="170" y="74"/>
                    <a:pt x="170" y="144"/>
                    <a:pt x="170" y="218"/>
                  </a:cubicBezTo>
                  <a:cubicBezTo>
                    <a:pt x="157" y="218"/>
                    <a:pt x="144" y="218"/>
                    <a:pt x="131" y="218"/>
                  </a:cubicBezTo>
                  <a:cubicBezTo>
                    <a:pt x="129" y="218"/>
                    <a:pt x="126" y="213"/>
                    <a:pt x="123" y="208"/>
                  </a:cubicBezTo>
                  <a:cubicBezTo>
                    <a:pt x="93" y="159"/>
                    <a:pt x="64" y="108"/>
                    <a:pt x="36" y="56"/>
                  </a:cubicBezTo>
                  <a:cubicBezTo>
                    <a:pt x="36" y="108"/>
                    <a:pt x="36" y="162"/>
                    <a:pt x="36" y="218"/>
                  </a:cubicBezTo>
                  <a:cubicBezTo>
                    <a:pt x="23" y="218"/>
                    <a:pt x="11" y="218"/>
                    <a:pt x="0" y="218"/>
                  </a:cubicBezTo>
                  <a:cubicBezTo>
                    <a:pt x="0" y="146"/>
                    <a:pt x="0" y="74"/>
                    <a:pt x="0" y="0"/>
                  </a:cubicBezTo>
                  <a:cubicBezTo>
                    <a:pt x="13" y="0"/>
                    <a:pt x="26" y="0"/>
                    <a:pt x="41" y="3"/>
                  </a:cubicBezTo>
                  <a:cubicBezTo>
                    <a:pt x="44" y="3"/>
                    <a:pt x="47" y="5"/>
                    <a:pt x="49" y="10"/>
                  </a:cubicBezTo>
                  <a:cubicBezTo>
                    <a:pt x="77" y="59"/>
                    <a:pt x="108" y="108"/>
                    <a:pt x="134" y="154"/>
                  </a:cubicBezTo>
                  <a:close/>
                </a:path>
              </a:pathLst>
            </a:custGeom>
            <a:solidFill>
              <a:srgbClr val="22419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" name="Freeform 24"/>
            <p:cNvSpPr>
              <a:spLocks/>
            </p:cNvSpPr>
            <p:nvPr/>
          </p:nvSpPr>
          <p:spPr bwMode="auto">
            <a:xfrm>
              <a:off x="480" y="3818"/>
              <a:ext cx="32" cy="39"/>
            </a:xfrm>
            <a:custGeom>
              <a:avLst/>
              <a:gdLst>
                <a:gd name="T0" fmla="*/ 184 w 192"/>
                <a:gd name="T1" fmla="*/ 16 h 231"/>
                <a:gd name="T2" fmla="*/ 176 w 192"/>
                <a:gd name="T3" fmla="*/ 49 h 231"/>
                <a:gd name="T4" fmla="*/ 107 w 192"/>
                <a:gd name="T5" fmla="*/ 41 h 231"/>
                <a:gd name="T6" fmla="*/ 51 w 192"/>
                <a:gd name="T7" fmla="*/ 103 h 231"/>
                <a:gd name="T8" fmla="*/ 82 w 192"/>
                <a:gd name="T9" fmla="*/ 185 h 231"/>
                <a:gd name="T10" fmla="*/ 146 w 192"/>
                <a:gd name="T11" fmla="*/ 193 h 231"/>
                <a:gd name="T12" fmla="*/ 153 w 192"/>
                <a:gd name="T13" fmla="*/ 185 h 231"/>
                <a:gd name="T14" fmla="*/ 153 w 192"/>
                <a:gd name="T15" fmla="*/ 139 h 231"/>
                <a:gd name="T16" fmla="*/ 115 w 192"/>
                <a:gd name="T17" fmla="*/ 139 h 231"/>
                <a:gd name="T18" fmla="*/ 115 w 192"/>
                <a:gd name="T19" fmla="*/ 105 h 231"/>
                <a:gd name="T20" fmla="*/ 125 w 192"/>
                <a:gd name="T21" fmla="*/ 105 h 231"/>
                <a:gd name="T22" fmla="*/ 192 w 192"/>
                <a:gd name="T23" fmla="*/ 105 h 231"/>
                <a:gd name="T24" fmla="*/ 192 w 192"/>
                <a:gd name="T25" fmla="*/ 113 h 231"/>
                <a:gd name="T26" fmla="*/ 192 w 192"/>
                <a:gd name="T27" fmla="*/ 205 h 231"/>
                <a:gd name="T28" fmla="*/ 184 w 192"/>
                <a:gd name="T29" fmla="*/ 218 h 231"/>
                <a:gd name="T30" fmla="*/ 84 w 192"/>
                <a:gd name="T31" fmla="*/ 223 h 231"/>
                <a:gd name="T32" fmla="*/ 7 w 192"/>
                <a:gd name="T33" fmla="*/ 139 h 231"/>
                <a:gd name="T34" fmla="*/ 61 w 192"/>
                <a:gd name="T35" fmla="*/ 23 h 231"/>
                <a:gd name="T36" fmla="*/ 184 w 192"/>
                <a:gd name="T37" fmla="*/ 16 h 2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92" h="231">
                  <a:moveTo>
                    <a:pt x="184" y="16"/>
                  </a:moveTo>
                  <a:cubicBezTo>
                    <a:pt x="182" y="29"/>
                    <a:pt x="179" y="39"/>
                    <a:pt x="176" y="49"/>
                  </a:cubicBezTo>
                  <a:cubicBezTo>
                    <a:pt x="153" y="41"/>
                    <a:pt x="130" y="39"/>
                    <a:pt x="107" y="41"/>
                  </a:cubicBezTo>
                  <a:cubicBezTo>
                    <a:pt x="74" y="49"/>
                    <a:pt x="53" y="70"/>
                    <a:pt x="51" y="103"/>
                  </a:cubicBezTo>
                  <a:cubicBezTo>
                    <a:pt x="46" y="136"/>
                    <a:pt x="51" y="164"/>
                    <a:pt x="82" y="185"/>
                  </a:cubicBezTo>
                  <a:cubicBezTo>
                    <a:pt x="102" y="198"/>
                    <a:pt x="125" y="198"/>
                    <a:pt x="146" y="193"/>
                  </a:cubicBezTo>
                  <a:cubicBezTo>
                    <a:pt x="148" y="193"/>
                    <a:pt x="153" y="188"/>
                    <a:pt x="153" y="185"/>
                  </a:cubicBezTo>
                  <a:cubicBezTo>
                    <a:pt x="153" y="170"/>
                    <a:pt x="153" y="154"/>
                    <a:pt x="153" y="139"/>
                  </a:cubicBezTo>
                  <a:cubicBezTo>
                    <a:pt x="141" y="139"/>
                    <a:pt x="128" y="139"/>
                    <a:pt x="115" y="139"/>
                  </a:cubicBezTo>
                  <a:cubicBezTo>
                    <a:pt x="115" y="126"/>
                    <a:pt x="115" y="116"/>
                    <a:pt x="115" y="105"/>
                  </a:cubicBezTo>
                  <a:cubicBezTo>
                    <a:pt x="120" y="105"/>
                    <a:pt x="123" y="105"/>
                    <a:pt x="125" y="105"/>
                  </a:cubicBezTo>
                  <a:cubicBezTo>
                    <a:pt x="148" y="105"/>
                    <a:pt x="169" y="105"/>
                    <a:pt x="192" y="105"/>
                  </a:cubicBezTo>
                  <a:cubicBezTo>
                    <a:pt x="192" y="108"/>
                    <a:pt x="192" y="111"/>
                    <a:pt x="192" y="113"/>
                  </a:cubicBezTo>
                  <a:cubicBezTo>
                    <a:pt x="192" y="144"/>
                    <a:pt x="192" y="175"/>
                    <a:pt x="192" y="205"/>
                  </a:cubicBezTo>
                  <a:cubicBezTo>
                    <a:pt x="192" y="213"/>
                    <a:pt x="192" y="216"/>
                    <a:pt x="184" y="218"/>
                  </a:cubicBezTo>
                  <a:cubicBezTo>
                    <a:pt x="151" y="229"/>
                    <a:pt x="117" y="231"/>
                    <a:pt x="84" y="223"/>
                  </a:cubicBezTo>
                  <a:cubicBezTo>
                    <a:pt x="41" y="213"/>
                    <a:pt x="15" y="185"/>
                    <a:pt x="7" y="139"/>
                  </a:cubicBezTo>
                  <a:cubicBezTo>
                    <a:pt x="0" y="90"/>
                    <a:pt x="20" y="44"/>
                    <a:pt x="61" y="23"/>
                  </a:cubicBezTo>
                  <a:cubicBezTo>
                    <a:pt x="100" y="0"/>
                    <a:pt x="143" y="3"/>
                    <a:pt x="184" y="16"/>
                  </a:cubicBezTo>
                  <a:close/>
                </a:path>
              </a:pathLst>
            </a:custGeom>
            <a:solidFill>
              <a:srgbClr val="22419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" name="Freeform 25"/>
            <p:cNvSpPr>
              <a:spLocks/>
            </p:cNvSpPr>
            <p:nvPr/>
          </p:nvSpPr>
          <p:spPr bwMode="auto">
            <a:xfrm>
              <a:off x="352" y="3820"/>
              <a:ext cx="22" cy="36"/>
            </a:xfrm>
            <a:custGeom>
              <a:avLst/>
              <a:gdLst>
                <a:gd name="T0" fmla="*/ 0 w 131"/>
                <a:gd name="T1" fmla="*/ 0 h 215"/>
                <a:gd name="T2" fmla="*/ 126 w 131"/>
                <a:gd name="T3" fmla="*/ 0 h 215"/>
                <a:gd name="T4" fmla="*/ 126 w 131"/>
                <a:gd name="T5" fmla="*/ 30 h 215"/>
                <a:gd name="T6" fmla="*/ 41 w 131"/>
                <a:gd name="T7" fmla="*/ 30 h 215"/>
                <a:gd name="T8" fmla="*/ 41 w 131"/>
                <a:gd name="T9" fmla="*/ 87 h 215"/>
                <a:gd name="T10" fmla="*/ 121 w 131"/>
                <a:gd name="T11" fmla="*/ 87 h 215"/>
                <a:gd name="T12" fmla="*/ 121 w 131"/>
                <a:gd name="T13" fmla="*/ 120 h 215"/>
                <a:gd name="T14" fmla="*/ 41 w 131"/>
                <a:gd name="T15" fmla="*/ 120 h 215"/>
                <a:gd name="T16" fmla="*/ 41 w 131"/>
                <a:gd name="T17" fmla="*/ 182 h 215"/>
                <a:gd name="T18" fmla="*/ 131 w 131"/>
                <a:gd name="T19" fmla="*/ 182 h 215"/>
                <a:gd name="T20" fmla="*/ 131 w 131"/>
                <a:gd name="T21" fmla="*/ 215 h 215"/>
                <a:gd name="T22" fmla="*/ 0 w 131"/>
                <a:gd name="T23" fmla="*/ 215 h 215"/>
                <a:gd name="T24" fmla="*/ 0 w 131"/>
                <a:gd name="T25" fmla="*/ 0 h 2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31" h="215">
                  <a:moveTo>
                    <a:pt x="0" y="0"/>
                  </a:moveTo>
                  <a:cubicBezTo>
                    <a:pt x="41" y="0"/>
                    <a:pt x="85" y="0"/>
                    <a:pt x="126" y="0"/>
                  </a:cubicBezTo>
                  <a:cubicBezTo>
                    <a:pt x="126" y="10"/>
                    <a:pt x="126" y="20"/>
                    <a:pt x="126" y="30"/>
                  </a:cubicBezTo>
                  <a:cubicBezTo>
                    <a:pt x="98" y="30"/>
                    <a:pt x="70" y="30"/>
                    <a:pt x="41" y="30"/>
                  </a:cubicBezTo>
                  <a:cubicBezTo>
                    <a:pt x="41" y="48"/>
                    <a:pt x="41" y="66"/>
                    <a:pt x="41" y="87"/>
                  </a:cubicBezTo>
                  <a:cubicBezTo>
                    <a:pt x="67" y="87"/>
                    <a:pt x="93" y="87"/>
                    <a:pt x="121" y="87"/>
                  </a:cubicBezTo>
                  <a:cubicBezTo>
                    <a:pt x="121" y="97"/>
                    <a:pt x="121" y="107"/>
                    <a:pt x="121" y="120"/>
                  </a:cubicBezTo>
                  <a:cubicBezTo>
                    <a:pt x="95" y="120"/>
                    <a:pt x="67" y="120"/>
                    <a:pt x="41" y="120"/>
                  </a:cubicBezTo>
                  <a:cubicBezTo>
                    <a:pt x="41" y="141"/>
                    <a:pt x="41" y="161"/>
                    <a:pt x="41" y="182"/>
                  </a:cubicBezTo>
                  <a:cubicBezTo>
                    <a:pt x="72" y="182"/>
                    <a:pt x="100" y="182"/>
                    <a:pt x="131" y="182"/>
                  </a:cubicBezTo>
                  <a:cubicBezTo>
                    <a:pt x="131" y="192"/>
                    <a:pt x="131" y="202"/>
                    <a:pt x="131" y="215"/>
                  </a:cubicBezTo>
                  <a:cubicBezTo>
                    <a:pt x="88" y="215"/>
                    <a:pt x="44" y="215"/>
                    <a:pt x="0" y="215"/>
                  </a:cubicBezTo>
                  <a:cubicBezTo>
                    <a:pt x="0" y="143"/>
                    <a:pt x="0" y="71"/>
                    <a:pt x="0" y="0"/>
                  </a:cubicBezTo>
                  <a:close/>
                </a:path>
              </a:pathLst>
            </a:custGeom>
            <a:solidFill>
              <a:srgbClr val="22419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" name="Freeform 26"/>
            <p:cNvSpPr>
              <a:spLocks/>
            </p:cNvSpPr>
            <p:nvPr/>
          </p:nvSpPr>
          <p:spPr bwMode="auto">
            <a:xfrm>
              <a:off x="318" y="3820"/>
              <a:ext cx="31" cy="36"/>
            </a:xfrm>
            <a:custGeom>
              <a:avLst/>
              <a:gdLst>
                <a:gd name="T0" fmla="*/ 94 w 189"/>
                <a:gd name="T1" fmla="*/ 172 h 218"/>
                <a:gd name="T2" fmla="*/ 148 w 189"/>
                <a:gd name="T3" fmla="*/ 0 h 218"/>
                <a:gd name="T4" fmla="*/ 189 w 189"/>
                <a:gd name="T5" fmla="*/ 0 h 218"/>
                <a:gd name="T6" fmla="*/ 174 w 189"/>
                <a:gd name="T7" fmla="*/ 51 h 218"/>
                <a:gd name="T8" fmla="*/ 118 w 189"/>
                <a:gd name="T9" fmla="*/ 210 h 218"/>
                <a:gd name="T10" fmla="*/ 107 w 189"/>
                <a:gd name="T11" fmla="*/ 218 h 218"/>
                <a:gd name="T12" fmla="*/ 97 w 189"/>
                <a:gd name="T13" fmla="*/ 218 h 218"/>
                <a:gd name="T14" fmla="*/ 61 w 189"/>
                <a:gd name="T15" fmla="*/ 192 h 218"/>
                <a:gd name="T16" fmla="*/ 2 w 189"/>
                <a:gd name="T17" fmla="*/ 13 h 218"/>
                <a:gd name="T18" fmla="*/ 0 w 189"/>
                <a:gd name="T19" fmla="*/ 0 h 218"/>
                <a:gd name="T20" fmla="*/ 38 w 189"/>
                <a:gd name="T21" fmla="*/ 3 h 218"/>
                <a:gd name="T22" fmla="*/ 46 w 189"/>
                <a:gd name="T23" fmla="*/ 10 h 218"/>
                <a:gd name="T24" fmla="*/ 92 w 189"/>
                <a:gd name="T25" fmla="*/ 164 h 218"/>
                <a:gd name="T26" fmla="*/ 94 w 189"/>
                <a:gd name="T27" fmla="*/ 172 h 2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89" h="218">
                  <a:moveTo>
                    <a:pt x="94" y="172"/>
                  </a:moveTo>
                  <a:cubicBezTo>
                    <a:pt x="112" y="113"/>
                    <a:pt x="130" y="56"/>
                    <a:pt x="148" y="0"/>
                  </a:cubicBezTo>
                  <a:cubicBezTo>
                    <a:pt x="161" y="0"/>
                    <a:pt x="177" y="0"/>
                    <a:pt x="189" y="0"/>
                  </a:cubicBezTo>
                  <a:cubicBezTo>
                    <a:pt x="184" y="18"/>
                    <a:pt x="179" y="33"/>
                    <a:pt x="174" y="51"/>
                  </a:cubicBezTo>
                  <a:cubicBezTo>
                    <a:pt x="156" y="103"/>
                    <a:pt x="135" y="156"/>
                    <a:pt x="118" y="210"/>
                  </a:cubicBezTo>
                  <a:cubicBezTo>
                    <a:pt x="118" y="215"/>
                    <a:pt x="115" y="218"/>
                    <a:pt x="107" y="218"/>
                  </a:cubicBezTo>
                  <a:cubicBezTo>
                    <a:pt x="105" y="218"/>
                    <a:pt x="102" y="218"/>
                    <a:pt x="97" y="218"/>
                  </a:cubicBezTo>
                  <a:cubicBezTo>
                    <a:pt x="69" y="218"/>
                    <a:pt x="69" y="218"/>
                    <a:pt x="61" y="192"/>
                  </a:cubicBezTo>
                  <a:cubicBezTo>
                    <a:pt x="43" y="131"/>
                    <a:pt x="23" y="72"/>
                    <a:pt x="2" y="13"/>
                  </a:cubicBezTo>
                  <a:cubicBezTo>
                    <a:pt x="2" y="10"/>
                    <a:pt x="2" y="5"/>
                    <a:pt x="0" y="0"/>
                  </a:cubicBezTo>
                  <a:cubicBezTo>
                    <a:pt x="12" y="0"/>
                    <a:pt x="25" y="0"/>
                    <a:pt x="38" y="3"/>
                  </a:cubicBezTo>
                  <a:cubicBezTo>
                    <a:pt x="41" y="3"/>
                    <a:pt x="46" y="5"/>
                    <a:pt x="46" y="10"/>
                  </a:cubicBezTo>
                  <a:cubicBezTo>
                    <a:pt x="61" y="62"/>
                    <a:pt x="77" y="113"/>
                    <a:pt x="92" y="164"/>
                  </a:cubicBezTo>
                  <a:cubicBezTo>
                    <a:pt x="92" y="167"/>
                    <a:pt x="92" y="169"/>
                    <a:pt x="94" y="172"/>
                  </a:cubicBezTo>
                  <a:close/>
                </a:path>
              </a:pathLst>
            </a:custGeom>
            <a:solidFill>
              <a:srgbClr val="22419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" name="Freeform 27"/>
            <p:cNvSpPr>
              <a:spLocks/>
            </p:cNvSpPr>
            <p:nvPr/>
          </p:nvSpPr>
          <p:spPr bwMode="auto">
            <a:xfrm>
              <a:off x="377" y="3819"/>
              <a:ext cx="25" cy="38"/>
            </a:xfrm>
            <a:custGeom>
              <a:avLst/>
              <a:gdLst>
                <a:gd name="T0" fmla="*/ 5 w 149"/>
                <a:gd name="T1" fmla="*/ 213 h 231"/>
                <a:gd name="T2" fmla="*/ 13 w 149"/>
                <a:gd name="T3" fmla="*/ 182 h 231"/>
                <a:gd name="T4" fmla="*/ 67 w 149"/>
                <a:gd name="T5" fmla="*/ 192 h 231"/>
                <a:gd name="T6" fmla="*/ 80 w 149"/>
                <a:gd name="T7" fmla="*/ 192 h 231"/>
                <a:gd name="T8" fmla="*/ 105 w 149"/>
                <a:gd name="T9" fmla="*/ 169 h 231"/>
                <a:gd name="T10" fmla="*/ 90 w 149"/>
                <a:gd name="T11" fmla="*/ 138 h 231"/>
                <a:gd name="T12" fmla="*/ 64 w 149"/>
                <a:gd name="T13" fmla="*/ 128 h 231"/>
                <a:gd name="T14" fmla="*/ 28 w 149"/>
                <a:gd name="T15" fmla="*/ 105 h 231"/>
                <a:gd name="T16" fmla="*/ 28 w 149"/>
                <a:gd name="T17" fmla="*/ 20 h 231"/>
                <a:gd name="T18" fmla="*/ 110 w 149"/>
                <a:gd name="T19" fmla="*/ 5 h 231"/>
                <a:gd name="T20" fmla="*/ 139 w 149"/>
                <a:gd name="T21" fmla="*/ 13 h 231"/>
                <a:gd name="T22" fmla="*/ 128 w 149"/>
                <a:gd name="T23" fmla="*/ 44 h 231"/>
                <a:gd name="T24" fmla="*/ 82 w 149"/>
                <a:gd name="T25" fmla="*/ 36 h 231"/>
                <a:gd name="T26" fmla="*/ 62 w 149"/>
                <a:gd name="T27" fmla="*/ 41 h 231"/>
                <a:gd name="T28" fmla="*/ 56 w 149"/>
                <a:gd name="T29" fmla="*/ 79 h 231"/>
                <a:gd name="T30" fmla="*/ 87 w 149"/>
                <a:gd name="T31" fmla="*/ 95 h 231"/>
                <a:gd name="T32" fmla="*/ 115 w 149"/>
                <a:gd name="T33" fmla="*/ 108 h 231"/>
                <a:gd name="T34" fmla="*/ 146 w 149"/>
                <a:gd name="T35" fmla="*/ 167 h 231"/>
                <a:gd name="T36" fmla="*/ 110 w 149"/>
                <a:gd name="T37" fmla="*/ 218 h 231"/>
                <a:gd name="T38" fmla="*/ 5 w 149"/>
                <a:gd name="T39" fmla="*/ 213 h 2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49" h="231">
                  <a:moveTo>
                    <a:pt x="5" y="213"/>
                  </a:moveTo>
                  <a:cubicBezTo>
                    <a:pt x="8" y="200"/>
                    <a:pt x="10" y="190"/>
                    <a:pt x="13" y="182"/>
                  </a:cubicBezTo>
                  <a:cubicBezTo>
                    <a:pt x="31" y="185"/>
                    <a:pt x="49" y="190"/>
                    <a:pt x="67" y="192"/>
                  </a:cubicBezTo>
                  <a:cubicBezTo>
                    <a:pt x="72" y="192"/>
                    <a:pt x="74" y="192"/>
                    <a:pt x="80" y="192"/>
                  </a:cubicBezTo>
                  <a:cubicBezTo>
                    <a:pt x="92" y="190"/>
                    <a:pt x="103" y="179"/>
                    <a:pt x="105" y="169"/>
                  </a:cubicBezTo>
                  <a:cubicBezTo>
                    <a:pt x="108" y="156"/>
                    <a:pt x="103" y="146"/>
                    <a:pt x="90" y="138"/>
                  </a:cubicBezTo>
                  <a:cubicBezTo>
                    <a:pt x="82" y="133"/>
                    <a:pt x="72" y="131"/>
                    <a:pt x="64" y="128"/>
                  </a:cubicBezTo>
                  <a:cubicBezTo>
                    <a:pt x="51" y="120"/>
                    <a:pt x="39" y="115"/>
                    <a:pt x="28" y="105"/>
                  </a:cubicBezTo>
                  <a:cubicBezTo>
                    <a:pt x="0" y="85"/>
                    <a:pt x="3" y="44"/>
                    <a:pt x="28" y="20"/>
                  </a:cubicBezTo>
                  <a:cubicBezTo>
                    <a:pt x="54" y="0"/>
                    <a:pt x="82" y="0"/>
                    <a:pt x="110" y="5"/>
                  </a:cubicBezTo>
                  <a:cubicBezTo>
                    <a:pt x="121" y="5"/>
                    <a:pt x="128" y="10"/>
                    <a:pt x="139" y="13"/>
                  </a:cubicBezTo>
                  <a:cubicBezTo>
                    <a:pt x="133" y="26"/>
                    <a:pt x="131" y="36"/>
                    <a:pt x="128" y="44"/>
                  </a:cubicBezTo>
                  <a:cubicBezTo>
                    <a:pt x="113" y="41"/>
                    <a:pt x="97" y="38"/>
                    <a:pt x="82" y="36"/>
                  </a:cubicBezTo>
                  <a:cubicBezTo>
                    <a:pt x="77" y="36"/>
                    <a:pt x="69" y="38"/>
                    <a:pt x="62" y="41"/>
                  </a:cubicBezTo>
                  <a:cubicBezTo>
                    <a:pt x="46" y="49"/>
                    <a:pt x="44" y="69"/>
                    <a:pt x="56" y="79"/>
                  </a:cubicBezTo>
                  <a:cubicBezTo>
                    <a:pt x="67" y="85"/>
                    <a:pt x="77" y="90"/>
                    <a:pt x="87" y="95"/>
                  </a:cubicBezTo>
                  <a:cubicBezTo>
                    <a:pt x="97" y="100"/>
                    <a:pt x="105" y="102"/>
                    <a:pt x="115" y="108"/>
                  </a:cubicBezTo>
                  <a:cubicBezTo>
                    <a:pt x="139" y="120"/>
                    <a:pt x="149" y="141"/>
                    <a:pt x="146" y="167"/>
                  </a:cubicBezTo>
                  <a:cubicBezTo>
                    <a:pt x="144" y="190"/>
                    <a:pt x="131" y="208"/>
                    <a:pt x="110" y="218"/>
                  </a:cubicBezTo>
                  <a:cubicBezTo>
                    <a:pt x="80" y="231"/>
                    <a:pt x="33" y="228"/>
                    <a:pt x="5" y="213"/>
                  </a:cubicBezTo>
                  <a:close/>
                </a:path>
              </a:pathLst>
            </a:custGeom>
            <a:solidFill>
              <a:srgbClr val="22419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" name="Freeform 28"/>
            <p:cNvSpPr>
              <a:spLocks/>
            </p:cNvSpPr>
            <p:nvPr/>
          </p:nvSpPr>
          <p:spPr bwMode="auto">
            <a:xfrm>
              <a:off x="403" y="3820"/>
              <a:ext cx="27" cy="36"/>
            </a:xfrm>
            <a:custGeom>
              <a:avLst/>
              <a:gdLst>
                <a:gd name="T0" fmla="*/ 103 w 164"/>
                <a:gd name="T1" fmla="*/ 215 h 215"/>
                <a:gd name="T2" fmla="*/ 62 w 164"/>
                <a:gd name="T3" fmla="*/ 215 h 215"/>
                <a:gd name="T4" fmla="*/ 62 w 164"/>
                <a:gd name="T5" fmla="*/ 33 h 215"/>
                <a:gd name="T6" fmla="*/ 0 w 164"/>
                <a:gd name="T7" fmla="*/ 33 h 215"/>
                <a:gd name="T8" fmla="*/ 0 w 164"/>
                <a:gd name="T9" fmla="*/ 0 h 215"/>
                <a:gd name="T10" fmla="*/ 164 w 164"/>
                <a:gd name="T11" fmla="*/ 0 h 215"/>
                <a:gd name="T12" fmla="*/ 164 w 164"/>
                <a:gd name="T13" fmla="*/ 30 h 215"/>
                <a:gd name="T14" fmla="*/ 103 w 164"/>
                <a:gd name="T15" fmla="*/ 30 h 215"/>
                <a:gd name="T16" fmla="*/ 103 w 164"/>
                <a:gd name="T17" fmla="*/ 215 h 2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4" h="215">
                  <a:moveTo>
                    <a:pt x="103" y="215"/>
                  </a:moveTo>
                  <a:cubicBezTo>
                    <a:pt x="87" y="215"/>
                    <a:pt x="74" y="215"/>
                    <a:pt x="62" y="215"/>
                  </a:cubicBezTo>
                  <a:cubicBezTo>
                    <a:pt x="62" y="153"/>
                    <a:pt x="62" y="92"/>
                    <a:pt x="62" y="33"/>
                  </a:cubicBezTo>
                  <a:cubicBezTo>
                    <a:pt x="41" y="33"/>
                    <a:pt x="21" y="33"/>
                    <a:pt x="0" y="33"/>
                  </a:cubicBezTo>
                  <a:cubicBezTo>
                    <a:pt x="0" y="20"/>
                    <a:pt x="0" y="10"/>
                    <a:pt x="0" y="0"/>
                  </a:cubicBezTo>
                  <a:cubicBezTo>
                    <a:pt x="54" y="0"/>
                    <a:pt x="108" y="0"/>
                    <a:pt x="164" y="0"/>
                  </a:cubicBezTo>
                  <a:cubicBezTo>
                    <a:pt x="164" y="10"/>
                    <a:pt x="164" y="20"/>
                    <a:pt x="164" y="30"/>
                  </a:cubicBezTo>
                  <a:cubicBezTo>
                    <a:pt x="144" y="30"/>
                    <a:pt x="123" y="30"/>
                    <a:pt x="103" y="30"/>
                  </a:cubicBezTo>
                  <a:cubicBezTo>
                    <a:pt x="103" y="92"/>
                    <a:pt x="103" y="153"/>
                    <a:pt x="103" y="215"/>
                  </a:cubicBezTo>
                  <a:close/>
                </a:path>
              </a:pathLst>
            </a:custGeom>
            <a:solidFill>
              <a:srgbClr val="22419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" name="Freeform 29"/>
            <p:cNvSpPr>
              <a:spLocks/>
            </p:cNvSpPr>
            <p:nvPr/>
          </p:nvSpPr>
          <p:spPr bwMode="auto">
            <a:xfrm>
              <a:off x="381" y="4108"/>
              <a:ext cx="30" cy="23"/>
            </a:xfrm>
            <a:custGeom>
              <a:avLst/>
              <a:gdLst>
                <a:gd name="T0" fmla="*/ 185 w 185"/>
                <a:gd name="T1" fmla="*/ 36 h 138"/>
                <a:gd name="T2" fmla="*/ 174 w 185"/>
                <a:gd name="T3" fmla="*/ 51 h 138"/>
                <a:gd name="T4" fmla="*/ 57 w 185"/>
                <a:gd name="T5" fmla="*/ 133 h 138"/>
                <a:gd name="T6" fmla="*/ 39 w 185"/>
                <a:gd name="T7" fmla="*/ 138 h 138"/>
                <a:gd name="T8" fmla="*/ 3 w 185"/>
                <a:gd name="T9" fmla="*/ 84 h 138"/>
                <a:gd name="T10" fmla="*/ 21 w 185"/>
                <a:gd name="T11" fmla="*/ 64 h 138"/>
                <a:gd name="T12" fmla="*/ 141 w 185"/>
                <a:gd name="T13" fmla="*/ 8 h 138"/>
                <a:gd name="T14" fmla="*/ 185 w 185"/>
                <a:gd name="T15" fmla="*/ 36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85" h="138">
                  <a:moveTo>
                    <a:pt x="185" y="36"/>
                  </a:moveTo>
                  <a:cubicBezTo>
                    <a:pt x="182" y="41"/>
                    <a:pt x="180" y="49"/>
                    <a:pt x="174" y="51"/>
                  </a:cubicBezTo>
                  <a:cubicBezTo>
                    <a:pt x="136" y="79"/>
                    <a:pt x="95" y="108"/>
                    <a:pt x="57" y="133"/>
                  </a:cubicBezTo>
                  <a:cubicBezTo>
                    <a:pt x="51" y="138"/>
                    <a:pt x="44" y="138"/>
                    <a:pt x="39" y="138"/>
                  </a:cubicBezTo>
                  <a:cubicBezTo>
                    <a:pt x="16" y="133"/>
                    <a:pt x="0" y="105"/>
                    <a:pt x="3" y="84"/>
                  </a:cubicBezTo>
                  <a:cubicBezTo>
                    <a:pt x="5" y="74"/>
                    <a:pt x="10" y="69"/>
                    <a:pt x="21" y="64"/>
                  </a:cubicBezTo>
                  <a:cubicBezTo>
                    <a:pt x="62" y="46"/>
                    <a:pt x="100" y="28"/>
                    <a:pt x="141" y="8"/>
                  </a:cubicBezTo>
                  <a:cubicBezTo>
                    <a:pt x="162" y="0"/>
                    <a:pt x="182" y="13"/>
                    <a:pt x="185" y="36"/>
                  </a:cubicBezTo>
                  <a:close/>
                </a:path>
              </a:pathLst>
            </a:custGeom>
            <a:solidFill>
              <a:srgbClr val="FBB32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" name="Freeform 30"/>
            <p:cNvSpPr>
              <a:spLocks/>
            </p:cNvSpPr>
            <p:nvPr/>
          </p:nvSpPr>
          <p:spPr bwMode="auto">
            <a:xfrm>
              <a:off x="435" y="4108"/>
              <a:ext cx="31" cy="23"/>
            </a:xfrm>
            <a:custGeom>
              <a:avLst/>
              <a:gdLst>
                <a:gd name="T0" fmla="*/ 0 w 184"/>
                <a:gd name="T1" fmla="*/ 38 h 141"/>
                <a:gd name="T2" fmla="*/ 43 w 184"/>
                <a:gd name="T3" fmla="*/ 10 h 141"/>
                <a:gd name="T4" fmla="*/ 164 w 184"/>
                <a:gd name="T5" fmla="*/ 64 h 141"/>
                <a:gd name="T6" fmla="*/ 182 w 184"/>
                <a:gd name="T7" fmla="*/ 100 h 141"/>
                <a:gd name="T8" fmla="*/ 166 w 184"/>
                <a:gd name="T9" fmla="*/ 125 h 141"/>
                <a:gd name="T10" fmla="*/ 123 w 184"/>
                <a:gd name="T11" fmla="*/ 131 h 141"/>
                <a:gd name="T12" fmla="*/ 15 w 184"/>
                <a:gd name="T13" fmla="*/ 54 h 141"/>
                <a:gd name="T14" fmla="*/ 0 w 184"/>
                <a:gd name="T15" fmla="*/ 38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84" h="141">
                  <a:moveTo>
                    <a:pt x="0" y="38"/>
                  </a:moveTo>
                  <a:cubicBezTo>
                    <a:pt x="2" y="13"/>
                    <a:pt x="23" y="0"/>
                    <a:pt x="43" y="10"/>
                  </a:cubicBezTo>
                  <a:cubicBezTo>
                    <a:pt x="84" y="28"/>
                    <a:pt x="123" y="46"/>
                    <a:pt x="164" y="64"/>
                  </a:cubicBezTo>
                  <a:cubicBezTo>
                    <a:pt x="179" y="72"/>
                    <a:pt x="184" y="82"/>
                    <a:pt x="182" y="100"/>
                  </a:cubicBezTo>
                  <a:cubicBezTo>
                    <a:pt x="177" y="108"/>
                    <a:pt x="174" y="118"/>
                    <a:pt x="166" y="125"/>
                  </a:cubicBezTo>
                  <a:cubicBezTo>
                    <a:pt x="154" y="141"/>
                    <a:pt x="141" y="141"/>
                    <a:pt x="123" y="131"/>
                  </a:cubicBezTo>
                  <a:cubicBezTo>
                    <a:pt x="87" y="105"/>
                    <a:pt x="51" y="79"/>
                    <a:pt x="15" y="54"/>
                  </a:cubicBezTo>
                  <a:cubicBezTo>
                    <a:pt x="8" y="51"/>
                    <a:pt x="5" y="43"/>
                    <a:pt x="0" y="38"/>
                  </a:cubicBezTo>
                  <a:close/>
                </a:path>
              </a:pathLst>
            </a:custGeom>
            <a:solidFill>
              <a:srgbClr val="FBB32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" name="Freeform 31"/>
            <p:cNvSpPr>
              <a:spLocks/>
            </p:cNvSpPr>
            <p:nvPr/>
          </p:nvSpPr>
          <p:spPr bwMode="auto">
            <a:xfrm>
              <a:off x="417" y="4119"/>
              <a:ext cx="13" cy="32"/>
            </a:xfrm>
            <a:custGeom>
              <a:avLst/>
              <a:gdLst>
                <a:gd name="T0" fmla="*/ 3 w 80"/>
                <a:gd name="T1" fmla="*/ 159 h 195"/>
                <a:gd name="T2" fmla="*/ 13 w 80"/>
                <a:gd name="T3" fmla="*/ 18 h 195"/>
                <a:gd name="T4" fmla="*/ 41 w 80"/>
                <a:gd name="T5" fmla="*/ 0 h 195"/>
                <a:gd name="T6" fmla="*/ 67 w 80"/>
                <a:gd name="T7" fmla="*/ 18 h 195"/>
                <a:gd name="T8" fmla="*/ 80 w 80"/>
                <a:gd name="T9" fmla="*/ 162 h 195"/>
                <a:gd name="T10" fmla="*/ 67 w 80"/>
                <a:gd name="T11" fmla="*/ 185 h 195"/>
                <a:gd name="T12" fmla="*/ 13 w 80"/>
                <a:gd name="T13" fmla="*/ 185 h 195"/>
                <a:gd name="T14" fmla="*/ 3 w 80"/>
                <a:gd name="T15" fmla="*/ 159 h 1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0" h="195">
                  <a:moveTo>
                    <a:pt x="3" y="159"/>
                  </a:moveTo>
                  <a:cubicBezTo>
                    <a:pt x="5" y="113"/>
                    <a:pt x="10" y="67"/>
                    <a:pt x="13" y="18"/>
                  </a:cubicBezTo>
                  <a:cubicBezTo>
                    <a:pt x="15" y="8"/>
                    <a:pt x="26" y="0"/>
                    <a:pt x="41" y="0"/>
                  </a:cubicBezTo>
                  <a:cubicBezTo>
                    <a:pt x="56" y="0"/>
                    <a:pt x="67" y="8"/>
                    <a:pt x="67" y="18"/>
                  </a:cubicBezTo>
                  <a:cubicBezTo>
                    <a:pt x="72" y="67"/>
                    <a:pt x="74" y="113"/>
                    <a:pt x="80" y="162"/>
                  </a:cubicBezTo>
                  <a:cubicBezTo>
                    <a:pt x="80" y="172"/>
                    <a:pt x="74" y="180"/>
                    <a:pt x="67" y="185"/>
                  </a:cubicBezTo>
                  <a:cubicBezTo>
                    <a:pt x="51" y="195"/>
                    <a:pt x="28" y="195"/>
                    <a:pt x="13" y="185"/>
                  </a:cubicBezTo>
                  <a:cubicBezTo>
                    <a:pt x="5" y="180"/>
                    <a:pt x="0" y="172"/>
                    <a:pt x="3" y="159"/>
                  </a:cubicBezTo>
                  <a:close/>
                </a:path>
              </a:pathLst>
            </a:custGeom>
            <a:solidFill>
              <a:srgbClr val="FBB32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" name="Freeform 32"/>
            <p:cNvSpPr>
              <a:spLocks/>
            </p:cNvSpPr>
            <p:nvPr/>
          </p:nvSpPr>
          <p:spPr bwMode="auto">
            <a:xfrm>
              <a:off x="417" y="4056"/>
              <a:ext cx="13" cy="32"/>
            </a:xfrm>
            <a:custGeom>
              <a:avLst/>
              <a:gdLst>
                <a:gd name="T0" fmla="*/ 38 w 82"/>
                <a:gd name="T1" fmla="*/ 192 h 192"/>
                <a:gd name="T2" fmla="*/ 13 w 82"/>
                <a:gd name="T3" fmla="*/ 167 h 192"/>
                <a:gd name="T4" fmla="*/ 3 w 82"/>
                <a:gd name="T5" fmla="*/ 36 h 192"/>
                <a:gd name="T6" fmla="*/ 23 w 82"/>
                <a:gd name="T7" fmla="*/ 3 h 192"/>
                <a:gd name="T8" fmla="*/ 54 w 82"/>
                <a:gd name="T9" fmla="*/ 3 h 192"/>
                <a:gd name="T10" fmla="*/ 80 w 82"/>
                <a:gd name="T11" fmla="*/ 39 h 192"/>
                <a:gd name="T12" fmla="*/ 67 w 82"/>
                <a:gd name="T13" fmla="*/ 167 h 192"/>
                <a:gd name="T14" fmla="*/ 38 w 82"/>
                <a:gd name="T15" fmla="*/ 192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2" h="192">
                  <a:moveTo>
                    <a:pt x="38" y="192"/>
                  </a:moveTo>
                  <a:cubicBezTo>
                    <a:pt x="21" y="192"/>
                    <a:pt x="15" y="185"/>
                    <a:pt x="13" y="167"/>
                  </a:cubicBezTo>
                  <a:cubicBezTo>
                    <a:pt x="10" y="123"/>
                    <a:pt x="5" y="80"/>
                    <a:pt x="3" y="36"/>
                  </a:cubicBezTo>
                  <a:cubicBezTo>
                    <a:pt x="0" y="18"/>
                    <a:pt x="5" y="8"/>
                    <a:pt x="23" y="3"/>
                  </a:cubicBezTo>
                  <a:cubicBezTo>
                    <a:pt x="33" y="0"/>
                    <a:pt x="44" y="0"/>
                    <a:pt x="54" y="3"/>
                  </a:cubicBezTo>
                  <a:cubicBezTo>
                    <a:pt x="74" y="5"/>
                    <a:pt x="82" y="18"/>
                    <a:pt x="80" y="39"/>
                  </a:cubicBezTo>
                  <a:cubicBezTo>
                    <a:pt x="74" y="80"/>
                    <a:pt x="72" y="123"/>
                    <a:pt x="67" y="167"/>
                  </a:cubicBezTo>
                  <a:cubicBezTo>
                    <a:pt x="67" y="185"/>
                    <a:pt x="59" y="192"/>
                    <a:pt x="38" y="192"/>
                  </a:cubicBezTo>
                  <a:close/>
                </a:path>
              </a:pathLst>
            </a:custGeom>
            <a:solidFill>
              <a:srgbClr val="FBB32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" name="Freeform 33"/>
            <p:cNvSpPr>
              <a:spLocks/>
            </p:cNvSpPr>
            <p:nvPr/>
          </p:nvSpPr>
          <p:spPr bwMode="auto">
            <a:xfrm>
              <a:off x="435" y="4075"/>
              <a:ext cx="31" cy="24"/>
            </a:xfrm>
            <a:custGeom>
              <a:avLst/>
              <a:gdLst>
                <a:gd name="T0" fmla="*/ 0 w 187"/>
                <a:gd name="T1" fmla="*/ 103 h 141"/>
                <a:gd name="T2" fmla="*/ 13 w 187"/>
                <a:gd name="T3" fmla="*/ 87 h 141"/>
                <a:gd name="T4" fmla="*/ 128 w 187"/>
                <a:gd name="T5" fmla="*/ 8 h 141"/>
                <a:gd name="T6" fmla="*/ 154 w 187"/>
                <a:gd name="T7" fmla="*/ 5 h 141"/>
                <a:gd name="T8" fmla="*/ 179 w 187"/>
                <a:gd name="T9" fmla="*/ 59 h 141"/>
                <a:gd name="T10" fmla="*/ 169 w 187"/>
                <a:gd name="T11" fmla="*/ 74 h 141"/>
                <a:gd name="T12" fmla="*/ 38 w 187"/>
                <a:gd name="T13" fmla="*/ 133 h 141"/>
                <a:gd name="T14" fmla="*/ 0 w 187"/>
                <a:gd name="T15" fmla="*/ 103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87" h="141">
                  <a:moveTo>
                    <a:pt x="0" y="103"/>
                  </a:moveTo>
                  <a:cubicBezTo>
                    <a:pt x="5" y="97"/>
                    <a:pt x="8" y="92"/>
                    <a:pt x="13" y="87"/>
                  </a:cubicBezTo>
                  <a:cubicBezTo>
                    <a:pt x="51" y="62"/>
                    <a:pt x="90" y="33"/>
                    <a:pt x="128" y="8"/>
                  </a:cubicBezTo>
                  <a:cubicBezTo>
                    <a:pt x="136" y="0"/>
                    <a:pt x="146" y="0"/>
                    <a:pt x="154" y="5"/>
                  </a:cubicBezTo>
                  <a:cubicBezTo>
                    <a:pt x="174" y="15"/>
                    <a:pt x="187" y="41"/>
                    <a:pt x="179" y="59"/>
                  </a:cubicBezTo>
                  <a:cubicBezTo>
                    <a:pt x="179" y="64"/>
                    <a:pt x="174" y="72"/>
                    <a:pt x="169" y="74"/>
                  </a:cubicBezTo>
                  <a:cubicBezTo>
                    <a:pt x="125" y="95"/>
                    <a:pt x="82" y="113"/>
                    <a:pt x="38" y="133"/>
                  </a:cubicBezTo>
                  <a:cubicBezTo>
                    <a:pt x="23" y="141"/>
                    <a:pt x="2" y="126"/>
                    <a:pt x="0" y="103"/>
                  </a:cubicBezTo>
                  <a:close/>
                </a:path>
              </a:pathLst>
            </a:custGeom>
            <a:solidFill>
              <a:srgbClr val="FBB32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" name="Freeform 34"/>
            <p:cNvSpPr>
              <a:spLocks/>
            </p:cNvSpPr>
            <p:nvPr/>
          </p:nvSpPr>
          <p:spPr bwMode="auto">
            <a:xfrm>
              <a:off x="381" y="4075"/>
              <a:ext cx="30" cy="24"/>
            </a:xfrm>
            <a:custGeom>
              <a:avLst/>
              <a:gdLst>
                <a:gd name="T0" fmla="*/ 185 w 185"/>
                <a:gd name="T1" fmla="*/ 103 h 141"/>
                <a:gd name="T2" fmla="*/ 141 w 185"/>
                <a:gd name="T3" fmla="*/ 131 h 141"/>
                <a:gd name="T4" fmla="*/ 21 w 185"/>
                <a:gd name="T5" fmla="*/ 77 h 141"/>
                <a:gd name="T6" fmla="*/ 5 w 185"/>
                <a:gd name="T7" fmla="*/ 41 h 141"/>
                <a:gd name="T8" fmla="*/ 26 w 185"/>
                <a:gd name="T9" fmla="*/ 8 h 141"/>
                <a:gd name="T10" fmla="*/ 57 w 185"/>
                <a:gd name="T11" fmla="*/ 8 h 141"/>
                <a:gd name="T12" fmla="*/ 172 w 185"/>
                <a:gd name="T13" fmla="*/ 87 h 141"/>
                <a:gd name="T14" fmla="*/ 185 w 185"/>
                <a:gd name="T15" fmla="*/ 103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85" h="141">
                  <a:moveTo>
                    <a:pt x="185" y="103"/>
                  </a:moveTo>
                  <a:cubicBezTo>
                    <a:pt x="182" y="128"/>
                    <a:pt x="162" y="141"/>
                    <a:pt x="141" y="131"/>
                  </a:cubicBezTo>
                  <a:cubicBezTo>
                    <a:pt x="103" y="113"/>
                    <a:pt x="62" y="95"/>
                    <a:pt x="21" y="77"/>
                  </a:cubicBezTo>
                  <a:cubicBezTo>
                    <a:pt x="5" y="69"/>
                    <a:pt x="0" y="59"/>
                    <a:pt x="5" y="41"/>
                  </a:cubicBezTo>
                  <a:cubicBezTo>
                    <a:pt x="8" y="28"/>
                    <a:pt x="16" y="15"/>
                    <a:pt x="26" y="8"/>
                  </a:cubicBezTo>
                  <a:cubicBezTo>
                    <a:pt x="36" y="0"/>
                    <a:pt x="46" y="0"/>
                    <a:pt x="57" y="8"/>
                  </a:cubicBezTo>
                  <a:cubicBezTo>
                    <a:pt x="95" y="33"/>
                    <a:pt x="133" y="62"/>
                    <a:pt x="172" y="87"/>
                  </a:cubicBezTo>
                  <a:cubicBezTo>
                    <a:pt x="177" y="92"/>
                    <a:pt x="180" y="97"/>
                    <a:pt x="185" y="103"/>
                  </a:cubicBezTo>
                  <a:close/>
                </a:path>
              </a:pathLst>
            </a:custGeom>
            <a:solidFill>
              <a:srgbClr val="FBB32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" name="Freeform 35"/>
            <p:cNvSpPr>
              <a:spLocks/>
            </p:cNvSpPr>
            <p:nvPr/>
          </p:nvSpPr>
          <p:spPr bwMode="auto">
            <a:xfrm>
              <a:off x="434" y="3820"/>
              <a:ext cx="6" cy="36"/>
            </a:xfrm>
            <a:custGeom>
              <a:avLst/>
              <a:gdLst>
                <a:gd name="T0" fmla="*/ 0 w 39"/>
                <a:gd name="T1" fmla="*/ 0 h 218"/>
                <a:gd name="T2" fmla="*/ 39 w 39"/>
                <a:gd name="T3" fmla="*/ 0 h 218"/>
                <a:gd name="T4" fmla="*/ 39 w 39"/>
                <a:gd name="T5" fmla="*/ 218 h 218"/>
                <a:gd name="T6" fmla="*/ 0 w 39"/>
                <a:gd name="T7" fmla="*/ 218 h 218"/>
                <a:gd name="T8" fmla="*/ 0 w 39"/>
                <a:gd name="T9" fmla="*/ 0 h 2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9" h="218">
                  <a:moveTo>
                    <a:pt x="0" y="0"/>
                  </a:moveTo>
                  <a:cubicBezTo>
                    <a:pt x="13" y="0"/>
                    <a:pt x="26" y="0"/>
                    <a:pt x="39" y="0"/>
                  </a:cubicBezTo>
                  <a:cubicBezTo>
                    <a:pt x="39" y="74"/>
                    <a:pt x="39" y="146"/>
                    <a:pt x="39" y="218"/>
                  </a:cubicBezTo>
                  <a:cubicBezTo>
                    <a:pt x="26" y="218"/>
                    <a:pt x="13" y="218"/>
                    <a:pt x="0" y="218"/>
                  </a:cubicBezTo>
                  <a:cubicBezTo>
                    <a:pt x="0" y="146"/>
                    <a:pt x="0" y="74"/>
                    <a:pt x="0" y="0"/>
                  </a:cubicBezTo>
                  <a:close/>
                </a:path>
              </a:pathLst>
            </a:custGeom>
            <a:solidFill>
              <a:srgbClr val="22419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0" name="Freeform 36"/>
            <p:cNvSpPr>
              <a:spLocks/>
            </p:cNvSpPr>
            <p:nvPr/>
          </p:nvSpPr>
          <p:spPr bwMode="auto">
            <a:xfrm>
              <a:off x="540" y="3820"/>
              <a:ext cx="6" cy="36"/>
            </a:xfrm>
            <a:custGeom>
              <a:avLst/>
              <a:gdLst>
                <a:gd name="T0" fmla="*/ 0 w 38"/>
                <a:gd name="T1" fmla="*/ 0 h 215"/>
                <a:gd name="T2" fmla="*/ 38 w 38"/>
                <a:gd name="T3" fmla="*/ 0 h 215"/>
                <a:gd name="T4" fmla="*/ 38 w 38"/>
                <a:gd name="T5" fmla="*/ 215 h 215"/>
                <a:gd name="T6" fmla="*/ 0 w 38"/>
                <a:gd name="T7" fmla="*/ 215 h 215"/>
                <a:gd name="T8" fmla="*/ 0 w 38"/>
                <a:gd name="T9" fmla="*/ 0 h 2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8" h="215">
                  <a:moveTo>
                    <a:pt x="0" y="0"/>
                  </a:moveTo>
                  <a:cubicBezTo>
                    <a:pt x="12" y="0"/>
                    <a:pt x="25" y="0"/>
                    <a:pt x="38" y="0"/>
                  </a:cubicBezTo>
                  <a:cubicBezTo>
                    <a:pt x="38" y="71"/>
                    <a:pt x="38" y="143"/>
                    <a:pt x="38" y="215"/>
                  </a:cubicBezTo>
                  <a:cubicBezTo>
                    <a:pt x="25" y="215"/>
                    <a:pt x="15" y="215"/>
                    <a:pt x="0" y="215"/>
                  </a:cubicBezTo>
                  <a:cubicBezTo>
                    <a:pt x="0" y="143"/>
                    <a:pt x="0" y="71"/>
                    <a:pt x="0" y="0"/>
                  </a:cubicBezTo>
                  <a:close/>
                </a:path>
              </a:pathLst>
            </a:custGeom>
            <a:solidFill>
              <a:srgbClr val="22419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1" name="Freeform 37"/>
            <p:cNvSpPr>
              <a:spLocks/>
            </p:cNvSpPr>
            <p:nvPr/>
          </p:nvSpPr>
          <p:spPr bwMode="auto">
            <a:xfrm>
              <a:off x="272" y="3820"/>
              <a:ext cx="6" cy="36"/>
            </a:xfrm>
            <a:custGeom>
              <a:avLst/>
              <a:gdLst>
                <a:gd name="T0" fmla="*/ 0 w 38"/>
                <a:gd name="T1" fmla="*/ 215 h 215"/>
                <a:gd name="T2" fmla="*/ 0 w 38"/>
                <a:gd name="T3" fmla="*/ 0 h 215"/>
                <a:gd name="T4" fmla="*/ 38 w 38"/>
                <a:gd name="T5" fmla="*/ 0 h 215"/>
                <a:gd name="T6" fmla="*/ 38 w 38"/>
                <a:gd name="T7" fmla="*/ 215 h 215"/>
                <a:gd name="T8" fmla="*/ 0 w 38"/>
                <a:gd name="T9" fmla="*/ 215 h 2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8" h="215">
                  <a:moveTo>
                    <a:pt x="0" y="215"/>
                  </a:moveTo>
                  <a:cubicBezTo>
                    <a:pt x="0" y="143"/>
                    <a:pt x="0" y="71"/>
                    <a:pt x="0" y="0"/>
                  </a:cubicBezTo>
                  <a:cubicBezTo>
                    <a:pt x="13" y="0"/>
                    <a:pt x="25" y="0"/>
                    <a:pt x="38" y="0"/>
                  </a:cubicBezTo>
                  <a:cubicBezTo>
                    <a:pt x="38" y="71"/>
                    <a:pt x="38" y="143"/>
                    <a:pt x="38" y="215"/>
                  </a:cubicBezTo>
                  <a:cubicBezTo>
                    <a:pt x="25" y="215"/>
                    <a:pt x="13" y="215"/>
                    <a:pt x="0" y="215"/>
                  </a:cubicBezTo>
                  <a:close/>
                </a:path>
              </a:pathLst>
            </a:custGeom>
            <a:solidFill>
              <a:srgbClr val="22419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2" name="Freeform 38"/>
            <p:cNvSpPr>
              <a:spLocks/>
            </p:cNvSpPr>
            <p:nvPr/>
          </p:nvSpPr>
          <p:spPr bwMode="auto">
            <a:xfrm>
              <a:off x="492" y="4078"/>
              <a:ext cx="16" cy="13"/>
            </a:xfrm>
            <a:custGeom>
              <a:avLst/>
              <a:gdLst>
                <a:gd name="T0" fmla="*/ 0 w 100"/>
                <a:gd name="T1" fmla="*/ 34 h 80"/>
                <a:gd name="T2" fmla="*/ 13 w 100"/>
                <a:gd name="T3" fmla="*/ 6 h 80"/>
                <a:gd name="T4" fmla="*/ 36 w 100"/>
                <a:gd name="T5" fmla="*/ 11 h 80"/>
                <a:gd name="T6" fmla="*/ 90 w 100"/>
                <a:gd name="T7" fmla="*/ 49 h 80"/>
                <a:gd name="T8" fmla="*/ 95 w 100"/>
                <a:gd name="T9" fmla="*/ 70 h 80"/>
                <a:gd name="T10" fmla="*/ 75 w 100"/>
                <a:gd name="T11" fmla="*/ 75 h 80"/>
                <a:gd name="T12" fmla="*/ 11 w 100"/>
                <a:gd name="T13" fmla="*/ 44 h 80"/>
                <a:gd name="T14" fmla="*/ 0 w 100"/>
                <a:gd name="T15" fmla="*/ 34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00" h="80">
                  <a:moveTo>
                    <a:pt x="0" y="34"/>
                  </a:moveTo>
                  <a:cubicBezTo>
                    <a:pt x="0" y="18"/>
                    <a:pt x="5" y="11"/>
                    <a:pt x="13" y="6"/>
                  </a:cubicBezTo>
                  <a:cubicBezTo>
                    <a:pt x="23" y="0"/>
                    <a:pt x="29" y="6"/>
                    <a:pt x="36" y="11"/>
                  </a:cubicBezTo>
                  <a:cubicBezTo>
                    <a:pt x="54" y="23"/>
                    <a:pt x="72" y="36"/>
                    <a:pt x="90" y="49"/>
                  </a:cubicBezTo>
                  <a:cubicBezTo>
                    <a:pt x="98" y="54"/>
                    <a:pt x="100" y="59"/>
                    <a:pt x="95" y="70"/>
                  </a:cubicBezTo>
                  <a:cubicBezTo>
                    <a:pt x="90" y="77"/>
                    <a:pt x="85" y="80"/>
                    <a:pt x="75" y="75"/>
                  </a:cubicBezTo>
                  <a:cubicBezTo>
                    <a:pt x="54" y="64"/>
                    <a:pt x="31" y="54"/>
                    <a:pt x="11" y="44"/>
                  </a:cubicBezTo>
                  <a:cubicBezTo>
                    <a:pt x="5" y="41"/>
                    <a:pt x="3" y="36"/>
                    <a:pt x="0" y="34"/>
                  </a:cubicBezTo>
                  <a:close/>
                </a:path>
              </a:pathLst>
            </a:custGeom>
            <a:solidFill>
              <a:srgbClr val="FBB32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3" name="Freeform 39"/>
            <p:cNvSpPr>
              <a:spLocks/>
            </p:cNvSpPr>
            <p:nvPr/>
          </p:nvSpPr>
          <p:spPr bwMode="auto">
            <a:xfrm>
              <a:off x="339" y="4078"/>
              <a:ext cx="16" cy="13"/>
            </a:xfrm>
            <a:custGeom>
              <a:avLst/>
              <a:gdLst>
                <a:gd name="T0" fmla="*/ 100 w 100"/>
                <a:gd name="T1" fmla="*/ 31 h 77"/>
                <a:gd name="T2" fmla="*/ 90 w 100"/>
                <a:gd name="T3" fmla="*/ 41 h 77"/>
                <a:gd name="T4" fmla="*/ 23 w 100"/>
                <a:gd name="T5" fmla="*/ 72 h 77"/>
                <a:gd name="T6" fmla="*/ 2 w 100"/>
                <a:gd name="T7" fmla="*/ 67 h 77"/>
                <a:gd name="T8" fmla="*/ 7 w 100"/>
                <a:gd name="T9" fmla="*/ 46 h 77"/>
                <a:gd name="T10" fmla="*/ 69 w 100"/>
                <a:gd name="T11" fmla="*/ 5 h 77"/>
                <a:gd name="T12" fmla="*/ 84 w 100"/>
                <a:gd name="T13" fmla="*/ 3 h 77"/>
                <a:gd name="T14" fmla="*/ 100 w 100"/>
                <a:gd name="T15" fmla="*/ 31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00" h="77">
                  <a:moveTo>
                    <a:pt x="100" y="31"/>
                  </a:moveTo>
                  <a:cubicBezTo>
                    <a:pt x="97" y="33"/>
                    <a:pt x="95" y="38"/>
                    <a:pt x="90" y="41"/>
                  </a:cubicBezTo>
                  <a:cubicBezTo>
                    <a:pt x="66" y="51"/>
                    <a:pt x="43" y="61"/>
                    <a:pt x="23" y="72"/>
                  </a:cubicBezTo>
                  <a:cubicBezTo>
                    <a:pt x="13" y="77"/>
                    <a:pt x="7" y="74"/>
                    <a:pt x="2" y="67"/>
                  </a:cubicBezTo>
                  <a:cubicBezTo>
                    <a:pt x="0" y="59"/>
                    <a:pt x="0" y="51"/>
                    <a:pt x="7" y="46"/>
                  </a:cubicBezTo>
                  <a:cubicBezTo>
                    <a:pt x="28" y="33"/>
                    <a:pt x="49" y="18"/>
                    <a:pt x="69" y="5"/>
                  </a:cubicBezTo>
                  <a:cubicBezTo>
                    <a:pt x="72" y="3"/>
                    <a:pt x="79" y="0"/>
                    <a:pt x="84" y="3"/>
                  </a:cubicBezTo>
                  <a:cubicBezTo>
                    <a:pt x="95" y="8"/>
                    <a:pt x="97" y="15"/>
                    <a:pt x="100" y="31"/>
                  </a:cubicBezTo>
                  <a:close/>
                </a:path>
              </a:pathLst>
            </a:custGeom>
            <a:solidFill>
              <a:srgbClr val="FBB32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4" name="Freeform 40"/>
            <p:cNvSpPr>
              <a:spLocks/>
            </p:cNvSpPr>
            <p:nvPr/>
          </p:nvSpPr>
          <p:spPr bwMode="auto">
            <a:xfrm>
              <a:off x="511" y="4102"/>
              <a:ext cx="8" cy="18"/>
            </a:xfrm>
            <a:custGeom>
              <a:avLst/>
              <a:gdLst>
                <a:gd name="T0" fmla="*/ 23 w 46"/>
                <a:gd name="T1" fmla="*/ 108 h 108"/>
                <a:gd name="T2" fmla="*/ 2 w 46"/>
                <a:gd name="T3" fmla="*/ 82 h 108"/>
                <a:gd name="T4" fmla="*/ 7 w 46"/>
                <a:gd name="T5" fmla="*/ 18 h 108"/>
                <a:gd name="T6" fmla="*/ 23 w 46"/>
                <a:gd name="T7" fmla="*/ 0 h 108"/>
                <a:gd name="T8" fmla="*/ 38 w 46"/>
                <a:gd name="T9" fmla="*/ 18 h 108"/>
                <a:gd name="T10" fmla="*/ 46 w 46"/>
                <a:gd name="T11" fmla="*/ 90 h 108"/>
                <a:gd name="T12" fmla="*/ 23 w 46"/>
                <a:gd name="T13" fmla="*/ 108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6" h="108">
                  <a:moveTo>
                    <a:pt x="23" y="108"/>
                  </a:moveTo>
                  <a:cubicBezTo>
                    <a:pt x="7" y="108"/>
                    <a:pt x="0" y="100"/>
                    <a:pt x="2" y="82"/>
                  </a:cubicBezTo>
                  <a:cubicBezTo>
                    <a:pt x="5" y="61"/>
                    <a:pt x="5" y="41"/>
                    <a:pt x="7" y="18"/>
                  </a:cubicBezTo>
                  <a:cubicBezTo>
                    <a:pt x="10" y="5"/>
                    <a:pt x="13" y="0"/>
                    <a:pt x="23" y="0"/>
                  </a:cubicBezTo>
                  <a:cubicBezTo>
                    <a:pt x="33" y="0"/>
                    <a:pt x="38" y="5"/>
                    <a:pt x="38" y="18"/>
                  </a:cubicBezTo>
                  <a:cubicBezTo>
                    <a:pt x="41" y="41"/>
                    <a:pt x="43" y="67"/>
                    <a:pt x="46" y="90"/>
                  </a:cubicBezTo>
                  <a:cubicBezTo>
                    <a:pt x="46" y="100"/>
                    <a:pt x="36" y="108"/>
                    <a:pt x="23" y="108"/>
                  </a:cubicBezTo>
                  <a:close/>
                </a:path>
              </a:pathLst>
            </a:custGeom>
            <a:solidFill>
              <a:srgbClr val="FBB32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" name="Freeform 41"/>
            <p:cNvSpPr>
              <a:spLocks/>
            </p:cNvSpPr>
            <p:nvPr/>
          </p:nvSpPr>
          <p:spPr bwMode="auto">
            <a:xfrm>
              <a:off x="328" y="4102"/>
              <a:ext cx="8" cy="18"/>
            </a:xfrm>
            <a:custGeom>
              <a:avLst/>
              <a:gdLst>
                <a:gd name="T0" fmla="*/ 46 w 46"/>
                <a:gd name="T1" fmla="*/ 90 h 108"/>
                <a:gd name="T2" fmla="*/ 23 w 46"/>
                <a:gd name="T3" fmla="*/ 108 h 108"/>
                <a:gd name="T4" fmla="*/ 2 w 46"/>
                <a:gd name="T5" fmla="*/ 87 h 108"/>
                <a:gd name="T6" fmla="*/ 7 w 46"/>
                <a:gd name="T7" fmla="*/ 15 h 108"/>
                <a:gd name="T8" fmla="*/ 23 w 46"/>
                <a:gd name="T9" fmla="*/ 0 h 108"/>
                <a:gd name="T10" fmla="*/ 38 w 46"/>
                <a:gd name="T11" fmla="*/ 15 h 108"/>
                <a:gd name="T12" fmla="*/ 46 w 46"/>
                <a:gd name="T13" fmla="*/ 90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6" h="108">
                  <a:moveTo>
                    <a:pt x="46" y="90"/>
                  </a:moveTo>
                  <a:cubicBezTo>
                    <a:pt x="46" y="100"/>
                    <a:pt x="38" y="108"/>
                    <a:pt x="23" y="108"/>
                  </a:cubicBezTo>
                  <a:cubicBezTo>
                    <a:pt x="7" y="108"/>
                    <a:pt x="0" y="100"/>
                    <a:pt x="2" y="87"/>
                  </a:cubicBezTo>
                  <a:cubicBezTo>
                    <a:pt x="5" y="64"/>
                    <a:pt x="7" y="38"/>
                    <a:pt x="7" y="15"/>
                  </a:cubicBezTo>
                  <a:cubicBezTo>
                    <a:pt x="10" y="5"/>
                    <a:pt x="15" y="0"/>
                    <a:pt x="23" y="0"/>
                  </a:cubicBezTo>
                  <a:cubicBezTo>
                    <a:pt x="33" y="3"/>
                    <a:pt x="38" y="5"/>
                    <a:pt x="38" y="15"/>
                  </a:cubicBezTo>
                  <a:cubicBezTo>
                    <a:pt x="41" y="38"/>
                    <a:pt x="43" y="64"/>
                    <a:pt x="46" y="90"/>
                  </a:cubicBezTo>
                  <a:close/>
                </a:path>
              </a:pathLst>
            </a:custGeom>
            <a:solidFill>
              <a:srgbClr val="FBB32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" name="Freeform 42"/>
            <p:cNvSpPr>
              <a:spLocks/>
            </p:cNvSpPr>
            <p:nvPr/>
          </p:nvSpPr>
          <p:spPr bwMode="auto">
            <a:xfrm>
              <a:off x="511" y="4067"/>
              <a:ext cx="8" cy="18"/>
            </a:xfrm>
            <a:custGeom>
              <a:avLst/>
              <a:gdLst>
                <a:gd name="T0" fmla="*/ 43 w 46"/>
                <a:gd name="T1" fmla="*/ 29 h 108"/>
                <a:gd name="T2" fmla="*/ 38 w 46"/>
                <a:gd name="T3" fmla="*/ 95 h 108"/>
                <a:gd name="T4" fmla="*/ 23 w 46"/>
                <a:gd name="T5" fmla="*/ 108 h 108"/>
                <a:gd name="T6" fmla="*/ 7 w 46"/>
                <a:gd name="T7" fmla="*/ 95 h 108"/>
                <a:gd name="T8" fmla="*/ 2 w 46"/>
                <a:gd name="T9" fmla="*/ 21 h 108"/>
                <a:gd name="T10" fmla="*/ 25 w 46"/>
                <a:gd name="T11" fmla="*/ 3 h 108"/>
                <a:gd name="T12" fmla="*/ 43 w 46"/>
                <a:gd name="T13" fmla="*/ 21 h 108"/>
                <a:gd name="T14" fmla="*/ 43 w 46"/>
                <a:gd name="T15" fmla="*/ 29 h 108"/>
                <a:gd name="T16" fmla="*/ 43 w 46"/>
                <a:gd name="T17" fmla="*/ 29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6" h="108">
                  <a:moveTo>
                    <a:pt x="43" y="29"/>
                  </a:moveTo>
                  <a:cubicBezTo>
                    <a:pt x="43" y="49"/>
                    <a:pt x="41" y="72"/>
                    <a:pt x="38" y="95"/>
                  </a:cubicBezTo>
                  <a:cubicBezTo>
                    <a:pt x="38" y="105"/>
                    <a:pt x="30" y="108"/>
                    <a:pt x="23" y="108"/>
                  </a:cubicBezTo>
                  <a:cubicBezTo>
                    <a:pt x="15" y="108"/>
                    <a:pt x="10" y="105"/>
                    <a:pt x="7" y="95"/>
                  </a:cubicBezTo>
                  <a:cubicBezTo>
                    <a:pt x="7" y="70"/>
                    <a:pt x="5" y="46"/>
                    <a:pt x="2" y="21"/>
                  </a:cubicBezTo>
                  <a:cubicBezTo>
                    <a:pt x="0" y="8"/>
                    <a:pt x="10" y="0"/>
                    <a:pt x="25" y="3"/>
                  </a:cubicBezTo>
                  <a:cubicBezTo>
                    <a:pt x="38" y="3"/>
                    <a:pt x="46" y="8"/>
                    <a:pt x="43" y="21"/>
                  </a:cubicBezTo>
                  <a:cubicBezTo>
                    <a:pt x="43" y="23"/>
                    <a:pt x="43" y="26"/>
                    <a:pt x="43" y="29"/>
                  </a:cubicBezTo>
                  <a:cubicBezTo>
                    <a:pt x="43" y="29"/>
                    <a:pt x="43" y="29"/>
                    <a:pt x="43" y="29"/>
                  </a:cubicBezTo>
                  <a:close/>
                </a:path>
              </a:pathLst>
            </a:custGeom>
            <a:solidFill>
              <a:srgbClr val="FBB32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7" name="Freeform 43"/>
            <p:cNvSpPr>
              <a:spLocks/>
            </p:cNvSpPr>
            <p:nvPr/>
          </p:nvSpPr>
          <p:spPr bwMode="auto">
            <a:xfrm>
              <a:off x="492" y="4096"/>
              <a:ext cx="16" cy="13"/>
            </a:xfrm>
            <a:custGeom>
              <a:avLst/>
              <a:gdLst>
                <a:gd name="T0" fmla="*/ 100 w 100"/>
                <a:gd name="T1" fmla="*/ 23 h 80"/>
                <a:gd name="T2" fmla="*/ 95 w 100"/>
                <a:gd name="T3" fmla="*/ 31 h 80"/>
                <a:gd name="T4" fmla="*/ 33 w 100"/>
                <a:gd name="T5" fmla="*/ 74 h 80"/>
                <a:gd name="T6" fmla="*/ 5 w 100"/>
                <a:gd name="T7" fmla="*/ 64 h 80"/>
                <a:gd name="T8" fmla="*/ 10 w 100"/>
                <a:gd name="T9" fmla="*/ 36 h 80"/>
                <a:gd name="T10" fmla="*/ 79 w 100"/>
                <a:gd name="T11" fmla="*/ 5 h 80"/>
                <a:gd name="T12" fmla="*/ 100 w 100"/>
                <a:gd name="T13" fmla="*/ 23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0" h="80">
                  <a:moveTo>
                    <a:pt x="100" y="23"/>
                  </a:moveTo>
                  <a:cubicBezTo>
                    <a:pt x="100" y="26"/>
                    <a:pt x="97" y="28"/>
                    <a:pt x="95" y="31"/>
                  </a:cubicBezTo>
                  <a:cubicBezTo>
                    <a:pt x="74" y="46"/>
                    <a:pt x="54" y="59"/>
                    <a:pt x="33" y="74"/>
                  </a:cubicBezTo>
                  <a:cubicBezTo>
                    <a:pt x="23" y="80"/>
                    <a:pt x="13" y="77"/>
                    <a:pt x="5" y="64"/>
                  </a:cubicBezTo>
                  <a:cubicBezTo>
                    <a:pt x="0" y="51"/>
                    <a:pt x="0" y="41"/>
                    <a:pt x="10" y="36"/>
                  </a:cubicBezTo>
                  <a:cubicBezTo>
                    <a:pt x="33" y="26"/>
                    <a:pt x="56" y="15"/>
                    <a:pt x="79" y="5"/>
                  </a:cubicBezTo>
                  <a:cubicBezTo>
                    <a:pt x="90" y="0"/>
                    <a:pt x="100" y="8"/>
                    <a:pt x="100" y="23"/>
                  </a:cubicBezTo>
                  <a:close/>
                </a:path>
              </a:pathLst>
            </a:custGeom>
            <a:solidFill>
              <a:srgbClr val="FBB32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8" name="Freeform 44"/>
            <p:cNvSpPr>
              <a:spLocks/>
            </p:cNvSpPr>
            <p:nvPr/>
          </p:nvSpPr>
          <p:spPr bwMode="auto">
            <a:xfrm>
              <a:off x="309" y="4096"/>
              <a:ext cx="16" cy="13"/>
            </a:xfrm>
            <a:custGeom>
              <a:avLst/>
              <a:gdLst>
                <a:gd name="T0" fmla="*/ 25 w 102"/>
                <a:gd name="T1" fmla="*/ 77 h 77"/>
                <a:gd name="T2" fmla="*/ 2 w 102"/>
                <a:gd name="T3" fmla="*/ 56 h 77"/>
                <a:gd name="T4" fmla="*/ 13 w 102"/>
                <a:gd name="T5" fmla="*/ 36 h 77"/>
                <a:gd name="T6" fmla="*/ 79 w 102"/>
                <a:gd name="T7" fmla="*/ 5 h 77"/>
                <a:gd name="T8" fmla="*/ 97 w 102"/>
                <a:gd name="T9" fmla="*/ 10 h 77"/>
                <a:gd name="T10" fmla="*/ 92 w 102"/>
                <a:gd name="T11" fmla="*/ 31 h 77"/>
                <a:gd name="T12" fmla="*/ 33 w 102"/>
                <a:gd name="T13" fmla="*/ 74 h 77"/>
                <a:gd name="T14" fmla="*/ 25 w 102"/>
                <a:gd name="T15" fmla="*/ 77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02" h="77">
                  <a:moveTo>
                    <a:pt x="25" y="77"/>
                  </a:moveTo>
                  <a:cubicBezTo>
                    <a:pt x="15" y="77"/>
                    <a:pt x="5" y="69"/>
                    <a:pt x="2" y="56"/>
                  </a:cubicBezTo>
                  <a:cubicBezTo>
                    <a:pt x="0" y="46"/>
                    <a:pt x="2" y="41"/>
                    <a:pt x="13" y="36"/>
                  </a:cubicBezTo>
                  <a:cubicBezTo>
                    <a:pt x="36" y="26"/>
                    <a:pt x="56" y="15"/>
                    <a:pt x="79" y="5"/>
                  </a:cubicBezTo>
                  <a:cubicBezTo>
                    <a:pt x="87" y="0"/>
                    <a:pt x="92" y="5"/>
                    <a:pt x="97" y="10"/>
                  </a:cubicBezTo>
                  <a:cubicBezTo>
                    <a:pt x="102" y="18"/>
                    <a:pt x="102" y="26"/>
                    <a:pt x="92" y="31"/>
                  </a:cubicBezTo>
                  <a:cubicBezTo>
                    <a:pt x="74" y="46"/>
                    <a:pt x="54" y="59"/>
                    <a:pt x="33" y="74"/>
                  </a:cubicBezTo>
                  <a:cubicBezTo>
                    <a:pt x="31" y="74"/>
                    <a:pt x="28" y="77"/>
                    <a:pt x="25" y="77"/>
                  </a:cubicBezTo>
                  <a:close/>
                </a:path>
              </a:pathLst>
            </a:custGeom>
            <a:solidFill>
              <a:srgbClr val="FBB32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" name="Freeform 45"/>
            <p:cNvSpPr>
              <a:spLocks/>
            </p:cNvSpPr>
            <p:nvPr/>
          </p:nvSpPr>
          <p:spPr bwMode="auto">
            <a:xfrm>
              <a:off x="522" y="4096"/>
              <a:ext cx="16" cy="13"/>
            </a:xfrm>
            <a:custGeom>
              <a:avLst/>
              <a:gdLst>
                <a:gd name="T0" fmla="*/ 100 w 100"/>
                <a:gd name="T1" fmla="*/ 49 h 80"/>
                <a:gd name="T2" fmla="*/ 84 w 100"/>
                <a:gd name="T3" fmla="*/ 74 h 80"/>
                <a:gd name="T4" fmla="*/ 64 w 100"/>
                <a:gd name="T5" fmla="*/ 72 h 80"/>
                <a:gd name="T6" fmla="*/ 7 w 100"/>
                <a:gd name="T7" fmla="*/ 31 h 80"/>
                <a:gd name="T8" fmla="*/ 2 w 100"/>
                <a:gd name="T9" fmla="*/ 13 h 80"/>
                <a:gd name="T10" fmla="*/ 23 w 100"/>
                <a:gd name="T11" fmla="*/ 5 h 80"/>
                <a:gd name="T12" fmla="*/ 90 w 100"/>
                <a:gd name="T13" fmla="*/ 36 h 80"/>
                <a:gd name="T14" fmla="*/ 100 w 100"/>
                <a:gd name="T15" fmla="*/ 49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00" h="80">
                  <a:moveTo>
                    <a:pt x="100" y="49"/>
                  </a:moveTo>
                  <a:cubicBezTo>
                    <a:pt x="97" y="62"/>
                    <a:pt x="95" y="69"/>
                    <a:pt x="84" y="74"/>
                  </a:cubicBezTo>
                  <a:cubicBezTo>
                    <a:pt x="77" y="80"/>
                    <a:pt x="72" y="77"/>
                    <a:pt x="64" y="72"/>
                  </a:cubicBezTo>
                  <a:cubicBezTo>
                    <a:pt x="46" y="59"/>
                    <a:pt x="28" y="44"/>
                    <a:pt x="7" y="31"/>
                  </a:cubicBezTo>
                  <a:cubicBezTo>
                    <a:pt x="0" y="26"/>
                    <a:pt x="0" y="21"/>
                    <a:pt x="2" y="13"/>
                  </a:cubicBezTo>
                  <a:cubicBezTo>
                    <a:pt x="7" y="3"/>
                    <a:pt x="13" y="0"/>
                    <a:pt x="23" y="5"/>
                  </a:cubicBezTo>
                  <a:cubicBezTo>
                    <a:pt x="46" y="15"/>
                    <a:pt x="66" y="26"/>
                    <a:pt x="90" y="36"/>
                  </a:cubicBezTo>
                  <a:cubicBezTo>
                    <a:pt x="95" y="39"/>
                    <a:pt x="97" y="44"/>
                    <a:pt x="100" y="49"/>
                  </a:cubicBezTo>
                  <a:close/>
                </a:path>
              </a:pathLst>
            </a:custGeom>
            <a:solidFill>
              <a:srgbClr val="FBB32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" name="Freeform 46"/>
            <p:cNvSpPr>
              <a:spLocks/>
            </p:cNvSpPr>
            <p:nvPr/>
          </p:nvSpPr>
          <p:spPr bwMode="auto">
            <a:xfrm>
              <a:off x="339" y="4096"/>
              <a:ext cx="16" cy="14"/>
            </a:xfrm>
            <a:custGeom>
              <a:avLst/>
              <a:gdLst>
                <a:gd name="T0" fmla="*/ 102 w 102"/>
                <a:gd name="T1" fmla="*/ 54 h 82"/>
                <a:gd name="T2" fmla="*/ 84 w 102"/>
                <a:gd name="T3" fmla="*/ 74 h 82"/>
                <a:gd name="T4" fmla="*/ 64 w 102"/>
                <a:gd name="T5" fmla="*/ 69 h 82"/>
                <a:gd name="T6" fmla="*/ 7 w 102"/>
                <a:gd name="T7" fmla="*/ 31 h 82"/>
                <a:gd name="T8" fmla="*/ 2 w 102"/>
                <a:gd name="T9" fmla="*/ 13 h 82"/>
                <a:gd name="T10" fmla="*/ 23 w 102"/>
                <a:gd name="T11" fmla="*/ 5 h 82"/>
                <a:gd name="T12" fmla="*/ 90 w 102"/>
                <a:gd name="T13" fmla="*/ 36 h 82"/>
                <a:gd name="T14" fmla="*/ 102 w 102"/>
                <a:gd name="T15" fmla="*/ 54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02" h="82">
                  <a:moveTo>
                    <a:pt x="102" y="54"/>
                  </a:moveTo>
                  <a:cubicBezTo>
                    <a:pt x="95" y="62"/>
                    <a:pt x="92" y="69"/>
                    <a:pt x="84" y="74"/>
                  </a:cubicBezTo>
                  <a:cubicBezTo>
                    <a:pt x="77" y="82"/>
                    <a:pt x="69" y="74"/>
                    <a:pt x="64" y="69"/>
                  </a:cubicBezTo>
                  <a:cubicBezTo>
                    <a:pt x="46" y="56"/>
                    <a:pt x="25" y="44"/>
                    <a:pt x="7" y="31"/>
                  </a:cubicBezTo>
                  <a:cubicBezTo>
                    <a:pt x="0" y="26"/>
                    <a:pt x="0" y="21"/>
                    <a:pt x="2" y="13"/>
                  </a:cubicBezTo>
                  <a:cubicBezTo>
                    <a:pt x="7" y="5"/>
                    <a:pt x="13" y="0"/>
                    <a:pt x="23" y="5"/>
                  </a:cubicBezTo>
                  <a:cubicBezTo>
                    <a:pt x="46" y="15"/>
                    <a:pt x="66" y="26"/>
                    <a:pt x="90" y="36"/>
                  </a:cubicBezTo>
                  <a:cubicBezTo>
                    <a:pt x="95" y="39"/>
                    <a:pt x="97" y="46"/>
                    <a:pt x="102" y="54"/>
                  </a:cubicBezTo>
                  <a:close/>
                </a:path>
              </a:pathLst>
            </a:custGeom>
            <a:solidFill>
              <a:srgbClr val="FBB32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1" name="Freeform 47"/>
            <p:cNvSpPr>
              <a:spLocks/>
            </p:cNvSpPr>
            <p:nvPr/>
          </p:nvSpPr>
          <p:spPr bwMode="auto">
            <a:xfrm>
              <a:off x="522" y="4078"/>
              <a:ext cx="16" cy="13"/>
            </a:xfrm>
            <a:custGeom>
              <a:avLst/>
              <a:gdLst>
                <a:gd name="T0" fmla="*/ 0 w 102"/>
                <a:gd name="T1" fmla="*/ 57 h 80"/>
                <a:gd name="T2" fmla="*/ 7 w 102"/>
                <a:gd name="T3" fmla="*/ 49 h 80"/>
                <a:gd name="T4" fmla="*/ 69 w 102"/>
                <a:gd name="T5" fmla="*/ 6 h 80"/>
                <a:gd name="T6" fmla="*/ 95 w 102"/>
                <a:gd name="T7" fmla="*/ 16 h 80"/>
                <a:gd name="T8" fmla="*/ 90 w 102"/>
                <a:gd name="T9" fmla="*/ 44 h 80"/>
                <a:gd name="T10" fmla="*/ 23 w 102"/>
                <a:gd name="T11" fmla="*/ 75 h 80"/>
                <a:gd name="T12" fmla="*/ 0 w 102"/>
                <a:gd name="T13" fmla="*/ 57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2" h="80">
                  <a:moveTo>
                    <a:pt x="0" y="57"/>
                  </a:moveTo>
                  <a:cubicBezTo>
                    <a:pt x="2" y="57"/>
                    <a:pt x="2" y="52"/>
                    <a:pt x="7" y="49"/>
                  </a:cubicBezTo>
                  <a:cubicBezTo>
                    <a:pt x="28" y="36"/>
                    <a:pt x="48" y="21"/>
                    <a:pt x="69" y="6"/>
                  </a:cubicBezTo>
                  <a:cubicBezTo>
                    <a:pt x="79" y="0"/>
                    <a:pt x="90" y="6"/>
                    <a:pt x="95" y="16"/>
                  </a:cubicBezTo>
                  <a:cubicBezTo>
                    <a:pt x="102" y="29"/>
                    <a:pt x="100" y="39"/>
                    <a:pt x="90" y="44"/>
                  </a:cubicBezTo>
                  <a:cubicBezTo>
                    <a:pt x="66" y="54"/>
                    <a:pt x="46" y="64"/>
                    <a:pt x="23" y="75"/>
                  </a:cubicBezTo>
                  <a:cubicBezTo>
                    <a:pt x="13" y="80"/>
                    <a:pt x="2" y="72"/>
                    <a:pt x="0" y="57"/>
                  </a:cubicBezTo>
                  <a:close/>
                </a:path>
              </a:pathLst>
            </a:custGeom>
            <a:solidFill>
              <a:srgbClr val="FBB32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" name="Freeform 48"/>
            <p:cNvSpPr>
              <a:spLocks/>
            </p:cNvSpPr>
            <p:nvPr/>
          </p:nvSpPr>
          <p:spPr bwMode="auto">
            <a:xfrm>
              <a:off x="328" y="4067"/>
              <a:ext cx="8" cy="18"/>
            </a:xfrm>
            <a:custGeom>
              <a:avLst/>
              <a:gdLst>
                <a:gd name="T0" fmla="*/ 23 w 46"/>
                <a:gd name="T1" fmla="*/ 3 h 108"/>
                <a:gd name="T2" fmla="*/ 43 w 46"/>
                <a:gd name="T3" fmla="*/ 26 h 108"/>
                <a:gd name="T4" fmla="*/ 38 w 46"/>
                <a:gd name="T5" fmla="*/ 90 h 108"/>
                <a:gd name="T6" fmla="*/ 23 w 46"/>
                <a:gd name="T7" fmla="*/ 108 h 108"/>
                <a:gd name="T8" fmla="*/ 7 w 46"/>
                <a:gd name="T9" fmla="*/ 93 h 108"/>
                <a:gd name="T10" fmla="*/ 2 w 46"/>
                <a:gd name="T11" fmla="*/ 18 h 108"/>
                <a:gd name="T12" fmla="*/ 23 w 46"/>
                <a:gd name="T13" fmla="*/ 3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6" h="108">
                  <a:moveTo>
                    <a:pt x="23" y="3"/>
                  </a:moveTo>
                  <a:cubicBezTo>
                    <a:pt x="41" y="3"/>
                    <a:pt x="46" y="11"/>
                    <a:pt x="43" y="26"/>
                  </a:cubicBezTo>
                  <a:cubicBezTo>
                    <a:pt x="43" y="46"/>
                    <a:pt x="41" y="70"/>
                    <a:pt x="38" y="90"/>
                  </a:cubicBezTo>
                  <a:cubicBezTo>
                    <a:pt x="38" y="103"/>
                    <a:pt x="33" y="108"/>
                    <a:pt x="23" y="108"/>
                  </a:cubicBezTo>
                  <a:cubicBezTo>
                    <a:pt x="15" y="108"/>
                    <a:pt x="10" y="103"/>
                    <a:pt x="7" y="93"/>
                  </a:cubicBezTo>
                  <a:cubicBezTo>
                    <a:pt x="5" y="67"/>
                    <a:pt x="5" y="44"/>
                    <a:pt x="2" y="18"/>
                  </a:cubicBezTo>
                  <a:cubicBezTo>
                    <a:pt x="0" y="8"/>
                    <a:pt x="10" y="0"/>
                    <a:pt x="23" y="3"/>
                  </a:cubicBezTo>
                  <a:close/>
                </a:path>
              </a:pathLst>
            </a:custGeom>
            <a:solidFill>
              <a:srgbClr val="FBB32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3" name="Freeform 49"/>
            <p:cNvSpPr>
              <a:spLocks/>
            </p:cNvSpPr>
            <p:nvPr/>
          </p:nvSpPr>
          <p:spPr bwMode="auto">
            <a:xfrm>
              <a:off x="308" y="4078"/>
              <a:ext cx="17" cy="13"/>
            </a:xfrm>
            <a:custGeom>
              <a:avLst/>
              <a:gdLst>
                <a:gd name="T0" fmla="*/ 103 w 103"/>
                <a:gd name="T1" fmla="*/ 57 h 80"/>
                <a:gd name="T2" fmla="*/ 80 w 103"/>
                <a:gd name="T3" fmla="*/ 75 h 80"/>
                <a:gd name="T4" fmla="*/ 16 w 103"/>
                <a:gd name="T5" fmla="*/ 44 h 80"/>
                <a:gd name="T6" fmla="*/ 8 w 103"/>
                <a:gd name="T7" fmla="*/ 16 h 80"/>
                <a:gd name="T8" fmla="*/ 36 w 103"/>
                <a:gd name="T9" fmla="*/ 8 h 80"/>
                <a:gd name="T10" fmla="*/ 95 w 103"/>
                <a:gd name="T11" fmla="*/ 49 h 80"/>
                <a:gd name="T12" fmla="*/ 103 w 103"/>
                <a:gd name="T13" fmla="*/ 57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3" h="80">
                  <a:moveTo>
                    <a:pt x="103" y="57"/>
                  </a:moveTo>
                  <a:cubicBezTo>
                    <a:pt x="103" y="72"/>
                    <a:pt x="93" y="80"/>
                    <a:pt x="80" y="75"/>
                  </a:cubicBezTo>
                  <a:cubicBezTo>
                    <a:pt x="59" y="64"/>
                    <a:pt x="36" y="54"/>
                    <a:pt x="16" y="44"/>
                  </a:cubicBezTo>
                  <a:cubicBezTo>
                    <a:pt x="3" y="39"/>
                    <a:pt x="0" y="29"/>
                    <a:pt x="8" y="16"/>
                  </a:cubicBezTo>
                  <a:cubicBezTo>
                    <a:pt x="16" y="3"/>
                    <a:pt x="26" y="0"/>
                    <a:pt x="36" y="8"/>
                  </a:cubicBezTo>
                  <a:cubicBezTo>
                    <a:pt x="57" y="21"/>
                    <a:pt x="77" y="36"/>
                    <a:pt x="95" y="49"/>
                  </a:cubicBezTo>
                  <a:cubicBezTo>
                    <a:pt x="100" y="52"/>
                    <a:pt x="100" y="57"/>
                    <a:pt x="103" y="57"/>
                  </a:cubicBezTo>
                  <a:close/>
                </a:path>
              </a:pathLst>
            </a:custGeom>
            <a:solidFill>
              <a:srgbClr val="FBB32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" name="Freeform 50"/>
            <p:cNvSpPr>
              <a:spLocks/>
            </p:cNvSpPr>
            <p:nvPr/>
          </p:nvSpPr>
          <p:spPr bwMode="auto">
            <a:xfrm>
              <a:off x="244" y="3720"/>
              <a:ext cx="61" cy="48"/>
            </a:xfrm>
            <a:custGeom>
              <a:avLst/>
              <a:gdLst>
                <a:gd name="T0" fmla="*/ 0 w 369"/>
                <a:gd name="T1" fmla="*/ 0 h 292"/>
                <a:gd name="T2" fmla="*/ 59 w 369"/>
                <a:gd name="T3" fmla="*/ 3 h 292"/>
                <a:gd name="T4" fmla="*/ 66 w 369"/>
                <a:gd name="T5" fmla="*/ 10 h 292"/>
                <a:gd name="T6" fmla="*/ 105 w 369"/>
                <a:gd name="T7" fmla="*/ 213 h 292"/>
                <a:gd name="T8" fmla="*/ 105 w 369"/>
                <a:gd name="T9" fmla="*/ 221 h 292"/>
                <a:gd name="T10" fmla="*/ 156 w 369"/>
                <a:gd name="T11" fmla="*/ 0 h 292"/>
                <a:gd name="T12" fmla="*/ 215 w 369"/>
                <a:gd name="T13" fmla="*/ 3 h 292"/>
                <a:gd name="T14" fmla="*/ 223 w 369"/>
                <a:gd name="T15" fmla="*/ 8 h 292"/>
                <a:gd name="T16" fmla="*/ 266 w 369"/>
                <a:gd name="T17" fmla="*/ 216 h 292"/>
                <a:gd name="T18" fmla="*/ 269 w 369"/>
                <a:gd name="T19" fmla="*/ 198 h 292"/>
                <a:gd name="T20" fmla="*/ 307 w 369"/>
                <a:gd name="T21" fmla="*/ 10 h 292"/>
                <a:gd name="T22" fmla="*/ 317 w 369"/>
                <a:gd name="T23" fmla="*/ 0 h 292"/>
                <a:gd name="T24" fmla="*/ 369 w 369"/>
                <a:gd name="T25" fmla="*/ 0 h 292"/>
                <a:gd name="T26" fmla="*/ 366 w 369"/>
                <a:gd name="T27" fmla="*/ 16 h 292"/>
                <a:gd name="T28" fmla="*/ 297 w 369"/>
                <a:gd name="T29" fmla="*/ 280 h 292"/>
                <a:gd name="T30" fmla="*/ 284 w 369"/>
                <a:gd name="T31" fmla="*/ 290 h 292"/>
                <a:gd name="T32" fmla="*/ 248 w 369"/>
                <a:gd name="T33" fmla="*/ 287 h 292"/>
                <a:gd name="T34" fmla="*/ 223 w 369"/>
                <a:gd name="T35" fmla="*/ 251 h 292"/>
                <a:gd name="T36" fmla="*/ 187 w 369"/>
                <a:gd name="T37" fmla="*/ 85 h 292"/>
                <a:gd name="T38" fmla="*/ 187 w 369"/>
                <a:gd name="T39" fmla="*/ 77 h 292"/>
                <a:gd name="T40" fmla="*/ 164 w 369"/>
                <a:gd name="T41" fmla="*/ 177 h 292"/>
                <a:gd name="T42" fmla="*/ 138 w 369"/>
                <a:gd name="T43" fmla="*/ 282 h 292"/>
                <a:gd name="T44" fmla="*/ 128 w 369"/>
                <a:gd name="T45" fmla="*/ 290 h 292"/>
                <a:gd name="T46" fmla="*/ 97 w 369"/>
                <a:gd name="T47" fmla="*/ 290 h 292"/>
                <a:gd name="T48" fmla="*/ 64 w 369"/>
                <a:gd name="T49" fmla="*/ 262 h 292"/>
                <a:gd name="T50" fmla="*/ 46 w 369"/>
                <a:gd name="T51" fmla="*/ 195 h 292"/>
                <a:gd name="T52" fmla="*/ 0 w 369"/>
                <a:gd name="T53" fmla="*/ 8 h 292"/>
                <a:gd name="T54" fmla="*/ 0 w 369"/>
                <a:gd name="T55" fmla="*/ 0 h 2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369" h="292">
                  <a:moveTo>
                    <a:pt x="0" y="0"/>
                  </a:moveTo>
                  <a:cubicBezTo>
                    <a:pt x="20" y="0"/>
                    <a:pt x="41" y="0"/>
                    <a:pt x="59" y="3"/>
                  </a:cubicBezTo>
                  <a:cubicBezTo>
                    <a:pt x="61" y="3"/>
                    <a:pt x="66" y="5"/>
                    <a:pt x="66" y="10"/>
                  </a:cubicBezTo>
                  <a:cubicBezTo>
                    <a:pt x="79" y="77"/>
                    <a:pt x="92" y="144"/>
                    <a:pt x="105" y="213"/>
                  </a:cubicBezTo>
                  <a:cubicBezTo>
                    <a:pt x="105" y="213"/>
                    <a:pt x="105" y="216"/>
                    <a:pt x="105" y="221"/>
                  </a:cubicBezTo>
                  <a:cubicBezTo>
                    <a:pt x="123" y="146"/>
                    <a:pt x="138" y="75"/>
                    <a:pt x="156" y="0"/>
                  </a:cubicBezTo>
                  <a:cubicBezTo>
                    <a:pt x="176" y="0"/>
                    <a:pt x="194" y="0"/>
                    <a:pt x="215" y="3"/>
                  </a:cubicBezTo>
                  <a:cubicBezTo>
                    <a:pt x="217" y="3"/>
                    <a:pt x="220" y="5"/>
                    <a:pt x="223" y="8"/>
                  </a:cubicBezTo>
                  <a:cubicBezTo>
                    <a:pt x="235" y="77"/>
                    <a:pt x="251" y="146"/>
                    <a:pt x="266" y="216"/>
                  </a:cubicBezTo>
                  <a:cubicBezTo>
                    <a:pt x="266" y="210"/>
                    <a:pt x="269" y="205"/>
                    <a:pt x="269" y="198"/>
                  </a:cubicBezTo>
                  <a:cubicBezTo>
                    <a:pt x="282" y="136"/>
                    <a:pt x="294" y="75"/>
                    <a:pt x="307" y="10"/>
                  </a:cubicBezTo>
                  <a:cubicBezTo>
                    <a:pt x="307" y="3"/>
                    <a:pt x="310" y="0"/>
                    <a:pt x="317" y="0"/>
                  </a:cubicBezTo>
                  <a:cubicBezTo>
                    <a:pt x="335" y="3"/>
                    <a:pt x="351" y="0"/>
                    <a:pt x="369" y="0"/>
                  </a:cubicBezTo>
                  <a:cubicBezTo>
                    <a:pt x="369" y="8"/>
                    <a:pt x="369" y="10"/>
                    <a:pt x="366" y="16"/>
                  </a:cubicBezTo>
                  <a:cubicBezTo>
                    <a:pt x="343" y="103"/>
                    <a:pt x="320" y="192"/>
                    <a:pt x="297" y="280"/>
                  </a:cubicBezTo>
                  <a:cubicBezTo>
                    <a:pt x="294" y="287"/>
                    <a:pt x="292" y="290"/>
                    <a:pt x="284" y="290"/>
                  </a:cubicBezTo>
                  <a:cubicBezTo>
                    <a:pt x="271" y="290"/>
                    <a:pt x="259" y="290"/>
                    <a:pt x="248" y="287"/>
                  </a:cubicBezTo>
                  <a:cubicBezTo>
                    <a:pt x="233" y="282"/>
                    <a:pt x="225" y="267"/>
                    <a:pt x="223" y="251"/>
                  </a:cubicBezTo>
                  <a:cubicBezTo>
                    <a:pt x="210" y="195"/>
                    <a:pt x="200" y="141"/>
                    <a:pt x="187" y="85"/>
                  </a:cubicBezTo>
                  <a:cubicBezTo>
                    <a:pt x="187" y="82"/>
                    <a:pt x="187" y="80"/>
                    <a:pt x="187" y="77"/>
                  </a:cubicBezTo>
                  <a:cubicBezTo>
                    <a:pt x="176" y="110"/>
                    <a:pt x="171" y="144"/>
                    <a:pt x="164" y="177"/>
                  </a:cubicBezTo>
                  <a:cubicBezTo>
                    <a:pt x="153" y="210"/>
                    <a:pt x="146" y="246"/>
                    <a:pt x="138" y="282"/>
                  </a:cubicBezTo>
                  <a:cubicBezTo>
                    <a:pt x="135" y="287"/>
                    <a:pt x="133" y="290"/>
                    <a:pt x="128" y="290"/>
                  </a:cubicBezTo>
                  <a:cubicBezTo>
                    <a:pt x="118" y="290"/>
                    <a:pt x="107" y="292"/>
                    <a:pt x="97" y="290"/>
                  </a:cubicBezTo>
                  <a:cubicBezTo>
                    <a:pt x="79" y="290"/>
                    <a:pt x="69" y="277"/>
                    <a:pt x="64" y="262"/>
                  </a:cubicBezTo>
                  <a:cubicBezTo>
                    <a:pt x="56" y="239"/>
                    <a:pt x="51" y="216"/>
                    <a:pt x="46" y="195"/>
                  </a:cubicBezTo>
                  <a:cubicBezTo>
                    <a:pt x="30" y="131"/>
                    <a:pt x="15" y="69"/>
                    <a:pt x="0" y="8"/>
                  </a:cubicBezTo>
                  <a:cubicBezTo>
                    <a:pt x="0" y="5"/>
                    <a:pt x="0" y="5"/>
                    <a:pt x="0" y="0"/>
                  </a:cubicBezTo>
                  <a:close/>
                </a:path>
              </a:pathLst>
            </a:custGeom>
            <a:solidFill>
              <a:srgbClr val="FEFE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5" name="Freeform 51"/>
            <p:cNvSpPr>
              <a:spLocks/>
            </p:cNvSpPr>
            <p:nvPr/>
          </p:nvSpPr>
          <p:spPr bwMode="auto">
            <a:xfrm>
              <a:off x="356" y="3728"/>
              <a:ext cx="54" cy="39"/>
            </a:xfrm>
            <a:custGeom>
              <a:avLst/>
              <a:gdLst>
                <a:gd name="T0" fmla="*/ 323 w 323"/>
                <a:gd name="T1" fmla="*/ 238 h 238"/>
                <a:gd name="T2" fmla="*/ 265 w 323"/>
                <a:gd name="T3" fmla="*/ 238 h 238"/>
                <a:gd name="T4" fmla="*/ 265 w 323"/>
                <a:gd name="T5" fmla="*/ 228 h 238"/>
                <a:gd name="T6" fmla="*/ 265 w 323"/>
                <a:gd name="T7" fmla="*/ 123 h 238"/>
                <a:gd name="T8" fmla="*/ 259 w 323"/>
                <a:gd name="T9" fmla="*/ 95 h 238"/>
                <a:gd name="T10" fmla="*/ 229 w 323"/>
                <a:gd name="T11" fmla="*/ 69 h 238"/>
                <a:gd name="T12" fmla="*/ 195 w 323"/>
                <a:gd name="T13" fmla="*/ 92 h 238"/>
                <a:gd name="T14" fmla="*/ 190 w 323"/>
                <a:gd name="T15" fmla="*/ 115 h 238"/>
                <a:gd name="T16" fmla="*/ 190 w 323"/>
                <a:gd name="T17" fmla="*/ 238 h 238"/>
                <a:gd name="T18" fmla="*/ 131 w 323"/>
                <a:gd name="T19" fmla="*/ 238 h 238"/>
                <a:gd name="T20" fmla="*/ 131 w 323"/>
                <a:gd name="T21" fmla="*/ 143 h 238"/>
                <a:gd name="T22" fmla="*/ 131 w 323"/>
                <a:gd name="T23" fmla="*/ 100 h 238"/>
                <a:gd name="T24" fmla="*/ 106 w 323"/>
                <a:gd name="T25" fmla="*/ 69 h 238"/>
                <a:gd name="T26" fmla="*/ 67 w 323"/>
                <a:gd name="T27" fmla="*/ 90 h 238"/>
                <a:gd name="T28" fmla="*/ 59 w 323"/>
                <a:gd name="T29" fmla="*/ 115 h 238"/>
                <a:gd name="T30" fmla="*/ 59 w 323"/>
                <a:gd name="T31" fmla="*/ 228 h 238"/>
                <a:gd name="T32" fmla="*/ 59 w 323"/>
                <a:gd name="T33" fmla="*/ 238 h 238"/>
                <a:gd name="T34" fmla="*/ 0 w 323"/>
                <a:gd name="T35" fmla="*/ 238 h 238"/>
                <a:gd name="T36" fmla="*/ 0 w 323"/>
                <a:gd name="T37" fmla="*/ 26 h 238"/>
                <a:gd name="T38" fmla="*/ 57 w 323"/>
                <a:gd name="T39" fmla="*/ 26 h 238"/>
                <a:gd name="T40" fmla="*/ 57 w 323"/>
                <a:gd name="T41" fmla="*/ 51 h 238"/>
                <a:gd name="T42" fmla="*/ 180 w 323"/>
                <a:gd name="T43" fmla="*/ 56 h 238"/>
                <a:gd name="T44" fmla="*/ 193 w 323"/>
                <a:gd name="T45" fmla="*/ 41 h 238"/>
                <a:gd name="T46" fmla="*/ 275 w 323"/>
                <a:gd name="T47" fmla="*/ 23 h 238"/>
                <a:gd name="T48" fmla="*/ 321 w 323"/>
                <a:gd name="T49" fmla="*/ 87 h 238"/>
                <a:gd name="T50" fmla="*/ 323 w 323"/>
                <a:gd name="T51" fmla="*/ 154 h 238"/>
                <a:gd name="T52" fmla="*/ 323 w 323"/>
                <a:gd name="T53" fmla="*/ 238 h 2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323" h="238">
                  <a:moveTo>
                    <a:pt x="323" y="238"/>
                  </a:moveTo>
                  <a:cubicBezTo>
                    <a:pt x="303" y="238"/>
                    <a:pt x="282" y="238"/>
                    <a:pt x="265" y="238"/>
                  </a:cubicBezTo>
                  <a:cubicBezTo>
                    <a:pt x="265" y="236"/>
                    <a:pt x="265" y="231"/>
                    <a:pt x="265" y="228"/>
                  </a:cubicBezTo>
                  <a:cubicBezTo>
                    <a:pt x="265" y="192"/>
                    <a:pt x="265" y="159"/>
                    <a:pt x="265" y="123"/>
                  </a:cubicBezTo>
                  <a:cubicBezTo>
                    <a:pt x="262" y="113"/>
                    <a:pt x="262" y="102"/>
                    <a:pt x="259" y="95"/>
                  </a:cubicBezTo>
                  <a:cubicBezTo>
                    <a:pt x="254" y="77"/>
                    <a:pt x="244" y="69"/>
                    <a:pt x="229" y="69"/>
                  </a:cubicBezTo>
                  <a:cubicBezTo>
                    <a:pt x="213" y="69"/>
                    <a:pt x="200" y="77"/>
                    <a:pt x="195" y="92"/>
                  </a:cubicBezTo>
                  <a:cubicBezTo>
                    <a:pt x="193" y="100"/>
                    <a:pt x="190" y="108"/>
                    <a:pt x="190" y="115"/>
                  </a:cubicBezTo>
                  <a:cubicBezTo>
                    <a:pt x="190" y="156"/>
                    <a:pt x="190" y="197"/>
                    <a:pt x="190" y="238"/>
                  </a:cubicBezTo>
                  <a:cubicBezTo>
                    <a:pt x="172" y="238"/>
                    <a:pt x="152" y="238"/>
                    <a:pt x="131" y="238"/>
                  </a:cubicBezTo>
                  <a:cubicBezTo>
                    <a:pt x="131" y="208"/>
                    <a:pt x="134" y="177"/>
                    <a:pt x="131" y="143"/>
                  </a:cubicBezTo>
                  <a:cubicBezTo>
                    <a:pt x="131" y="128"/>
                    <a:pt x="131" y="115"/>
                    <a:pt x="131" y="100"/>
                  </a:cubicBezTo>
                  <a:cubicBezTo>
                    <a:pt x="129" y="82"/>
                    <a:pt x="118" y="72"/>
                    <a:pt x="106" y="69"/>
                  </a:cubicBezTo>
                  <a:cubicBezTo>
                    <a:pt x="88" y="67"/>
                    <a:pt x="75" y="74"/>
                    <a:pt x="67" y="90"/>
                  </a:cubicBezTo>
                  <a:cubicBezTo>
                    <a:pt x="62" y="97"/>
                    <a:pt x="59" y="105"/>
                    <a:pt x="59" y="115"/>
                  </a:cubicBezTo>
                  <a:cubicBezTo>
                    <a:pt x="59" y="151"/>
                    <a:pt x="59" y="190"/>
                    <a:pt x="59" y="228"/>
                  </a:cubicBezTo>
                  <a:cubicBezTo>
                    <a:pt x="59" y="231"/>
                    <a:pt x="59" y="236"/>
                    <a:pt x="59" y="238"/>
                  </a:cubicBezTo>
                  <a:cubicBezTo>
                    <a:pt x="39" y="238"/>
                    <a:pt x="21" y="238"/>
                    <a:pt x="0" y="238"/>
                  </a:cubicBezTo>
                  <a:cubicBezTo>
                    <a:pt x="0" y="169"/>
                    <a:pt x="0" y="97"/>
                    <a:pt x="0" y="26"/>
                  </a:cubicBezTo>
                  <a:cubicBezTo>
                    <a:pt x="18" y="26"/>
                    <a:pt x="36" y="26"/>
                    <a:pt x="57" y="26"/>
                  </a:cubicBezTo>
                  <a:cubicBezTo>
                    <a:pt x="57" y="33"/>
                    <a:pt x="57" y="41"/>
                    <a:pt x="57" y="51"/>
                  </a:cubicBezTo>
                  <a:cubicBezTo>
                    <a:pt x="93" y="0"/>
                    <a:pt x="162" y="15"/>
                    <a:pt x="180" y="56"/>
                  </a:cubicBezTo>
                  <a:cubicBezTo>
                    <a:pt x="185" y="51"/>
                    <a:pt x="188" y="46"/>
                    <a:pt x="193" y="41"/>
                  </a:cubicBezTo>
                  <a:cubicBezTo>
                    <a:pt x="216" y="20"/>
                    <a:pt x="244" y="13"/>
                    <a:pt x="275" y="23"/>
                  </a:cubicBezTo>
                  <a:cubicBezTo>
                    <a:pt x="303" y="33"/>
                    <a:pt x="316" y="59"/>
                    <a:pt x="321" y="87"/>
                  </a:cubicBezTo>
                  <a:cubicBezTo>
                    <a:pt x="323" y="110"/>
                    <a:pt x="321" y="131"/>
                    <a:pt x="323" y="154"/>
                  </a:cubicBezTo>
                  <a:cubicBezTo>
                    <a:pt x="323" y="182"/>
                    <a:pt x="323" y="210"/>
                    <a:pt x="323" y="238"/>
                  </a:cubicBezTo>
                  <a:close/>
                </a:path>
              </a:pathLst>
            </a:custGeom>
            <a:solidFill>
              <a:srgbClr val="FEFE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6" name="Freeform 52"/>
            <p:cNvSpPr>
              <a:spLocks/>
            </p:cNvSpPr>
            <p:nvPr/>
          </p:nvSpPr>
          <p:spPr bwMode="auto">
            <a:xfrm>
              <a:off x="302" y="3731"/>
              <a:ext cx="32" cy="38"/>
            </a:xfrm>
            <a:custGeom>
              <a:avLst/>
              <a:gdLst>
                <a:gd name="T0" fmla="*/ 133 w 195"/>
                <a:gd name="T1" fmla="*/ 79 h 231"/>
                <a:gd name="T2" fmla="*/ 102 w 195"/>
                <a:gd name="T3" fmla="*/ 43 h 231"/>
                <a:gd name="T4" fmla="*/ 33 w 195"/>
                <a:gd name="T5" fmla="*/ 59 h 231"/>
                <a:gd name="T6" fmla="*/ 20 w 195"/>
                <a:gd name="T7" fmla="*/ 18 h 231"/>
                <a:gd name="T8" fmla="*/ 64 w 195"/>
                <a:gd name="T9" fmla="*/ 5 h 231"/>
                <a:gd name="T10" fmla="*/ 120 w 195"/>
                <a:gd name="T11" fmla="*/ 2 h 231"/>
                <a:gd name="T12" fmla="*/ 192 w 195"/>
                <a:gd name="T13" fmla="*/ 90 h 231"/>
                <a:gd name="T14" fmla="*/ 195 w 195"/>
                <a:gd name="T15" fmla="*/ 190 h 231"/>
                <a:gd name="T16" fmla="*/ 195 w 195"/>
                <a:gd name="T17" fmla="*/ 220 h 231"/>
                <a:gd name="T18" fmla="*/ 138 w 195"/>
                <a:gd name="T19" fmla="*/ 200 h 231"/>
                <a:gd name="T20" fmla="*/ 72 w 195"/>
                <a:gd name="T21" fmla="*/ 225 h 231"/>
                <a:gd name="T22" fmla="*/ 7 w 195"/>
                <a:gd name="T23" fmla="*/ 182 h 231"/>
                <a:gd name="T24" fmla="*/ 36 w 195"/>
                <a:gd name="T25" fmla="*/ 102 h 231"/>
                <a:gd name="T26" fmla="*/ 100 w 195"/>
                <a:gd name="T27" fmla="*/ 82 h 231"/>
                <a:gd name="T28" fmla="*/ 133 w 195"/>
                <a:gd name="T29" fmla="*/ 79 h 2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95" h="231">
                  <a:moveTo>
                    <a:pt x="133" y="79"/>
                  </a:moveTo>
                  <a:cubicBezTo>
                    <a:pt x="131" y="59"/>
                    <a:pt x="123" y="46"/>
                    <a:pt x="102" y="43"/>
                  </a:cubicBezTo>
                  <a:cubicBezTo>
                    <a:pt x="79" y="41"/>
                    <a:pt x="56" y="49"/>
                    <a:pt x="33" y="59"/>
                  </a:cubicBezTo>
                  <a:cubicBezTo>
                    <a:pt x="28" y="46"/>
                    <a:pt x="25" y="33"/>
                    <a:pt x="20" y="18"/>
                  </a:cubicBezTo>
                  <a:cubicBezTo>
                    <a:pt x="36" y="13"/>
                    <a:pt x="48" y="8"/>
                    <a:pt x="64" y="5"/>
                  </a:cubicBezTo>
                  <a:cubicBezTo>
                    <a:pt x="82" y="2"/>
                    <a:pt x="102" y="0"/>
                    <a:pt x="120" y="2"/>
                  </a:cubicBezTo>
                  <a:cubicBezTo>
                    <a:pt x="166" y="8"/>
                    <a:pt x="192" y="38"/>
                    <a:pt x="192" y="90"/>
                  </a:cubicBezTo>
                  <a:cubicBezTo>
                    <a:pt x="195" y="123"/>
                    <a:pt x="192" y="156"/>
                    <a:pt x="195" y="190"/>
                  </a:cubicBezTo>
                  <a:cubicBezTo>
                    <a:pt x="195" y="200"/>
                    <a:pt x="195" y="210"/>
                    <a:pt x="195" y="220"/>
                  </a:cubicBezTo>
                  <a:cubicBezTo>
                    <a:pt x="174" y="231"/>
                    <a:pt x="154" y="225"/>
                    <a:pt x="138" y="200"/>
                  </a:cubicBezTo>
                  <a:cubicBezTo>
                    <a:pt x="120" y="218"/>
                    <a:pt x="97" y="228"/>
                    <a:pt x="72" y="225"/>
                  </a:cubicBezTo>
                  <a:cubicBezTo>
                    <a:pt x="41" y="225"/>
                    <a:pt x="18" y="208"/>
                    <a:pt x="7" y="182"/>
                  </a:cubicBezTo>
                  <a:cubicBezTo>
                    <a:pt x="0" y="151"/>
                    <a:pt x="10" y="120"/>
                    <a:pt x="36" y="102"/>
                  </a:cubicBezTo>
                  <a:cubicBezTo>
                    <a:pt x="54" y="90"/>
                    <a:pt x="77" y="84"/>
                    <a:pt x="100" y="82"/>
                  </a:cubicBezTo>
                  <a:cubicBezTo>
                    <a:pt x="110" y="79"/>
                    <a:pt x="120" y="79"/>
                    <a:pt x="133" y="79"/>
                  </a:cubicBezTo>
                  <a:close/>
                </a:path>
              </a:pathLst>
            </a:custGeom>
            <a:solidFill>
              <a:srgbClr val="FEFE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7" name="Freeform 53"/>
            <p:cNvSpPr>
              <a:spLocks/>
            </p:cNvSpPr>
            <p:nvPr/>
          </p:nvSpPr>
          <p:spPr bwMode="auto">
            <a:xfrm>
              <a:off x="412" y="3731"/>
              <a:ext cx="32" cy="39"/>
            </a:xfrm>
            <a:custGeom>
              <a:avLst/>
              <a:gdLst>
                <a:gd name="T0" fmla="*/ 193 w 193"/>
                <a:gd name="T1" fmla="*/ 221 h 231"/>
                <a:gd name="T2" fmla="*/ 136 w 193"/>
                <a:gd name="T3" fmla="*/ 198 h 231"/>
                <a:gd name="T4" fmla="*/ 90 w 193"/>
                <a:gd name="T5" fmla="*/ 223 h 231"/>
                <a:gd name="T6" fmla="*/ 6 w 193"/>
                <a:gd name="T7" fmla="*/ 164 h 231"/>
                <a:gd name="T8" fmla="*/ 49 w 193"/>
                <a:gd name="T9" fmla="*/ 93 h 231"/>
                <a:gd name="T10" fmla="*/ 123 w 193"/>
                <a:gd name="T11" fmla="*/ 77 h 231"/>
                <a:gd name="T12" fmla="*/ 131 w 193"/>
                <a:gd name="T13" fmla="*/ 77 h 231"/>
                <a:gd name="T14" fmla="*/ 103 w 193"/>
                <a:gd name="T15" fmla="*/ 41 h 231"/>
                <a:gd name="T16" fmla="*/ 31 w 193"/>
                <a:gd name="T17" fmla="*/ 57 h 231"/>
                <a:gd name="T18" fmla="*/ 18 w 193"/>
                <a:gd name="T19" fmla="*/ 18 h 231"/>
                <a:gd name="T20" fmla="*/ 54 w 193"/>
                <a:gd name="T21" fmla="*/ 6 h 231"/>
                <a:gd name="T22" fmla="*/ 116 w 193"/>
                <a:gd name="T23" fmla="*/ 0 h 231"/>
                <a:gd name="T24" fmla="*/ 190 w 193"/>
                <a:gd name="T25" fmla="*/ 75 h 231"/>
                <a:gd name="T26" fmla="*/ 193 w 193"/>
                <a:gd name="T27" fmla="*/ 141 h 231"/>
                <a:gd name="T28" fmla="*/ 193 w 193"/>
                <a:gd name="T29" fmla="*/ 221 h 2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93" h="231">
                  <a:moveTo>
                    <a:pt x="193" y="221"/>
                  </a:moveTo>
                  <a:cubicBezTo>
                    <a:pt x="167" y="229"/>
                    <a:pt x="149" y="221"/>
                    <a:pt x="136" y="198"/>
                  </a:cubicBezTo>
                  <a:cubicBezTo>
                    <a:pt x="123" y="211"/>
                    <a:pt x="108" y="221"/>
                    <a:pt x="90" y="223"/>
                  </a:cubicBezTo>
                  <a:cubicBezTo>
                    <a:pt x="47" y="231"/>
                    <a:pt x="8" y="206"/>
                    <a:pt x="6" y="164"/>
                  </a:cubicBezTo>
                  <a:cubicBezTo>
                    <a:pt x="0" y="134"/>
                    <a:pt x="18" y="106"/>
                    <a:pt x="49" y="93"/>
                  </a:cubicBezTo>
                  <a:cubicBezTo>
                    <a:pt x="72" y="80"/>
                    <a:pt x="98" y="77"/>
                    <a:pt x="123" y="77"/>
                  </a:cubicBezTo>
                  <a:cubicBezTo>
                    <a:pt x="126" y="77"/>
                    <a:pt x="129" y="77"/>
                    <a:pt x="131" y="77"/>
                  </a:cubicBezTo>
                  <a:cubicBezTo>
                    <a:pt x="131" y="57"/>
                    <a:pt x="121" y="47"/>
                    <a:pt x="103" y="41"/>
                  </a:cubicBezTo>
                  <a:cubicBezTo>
                    <a:pt x="77" y="39"/>
                    <a:pt x="54" y="47"/>
                    <a:pt x="31" y="57"/>
                  </a:cubicBezTo>
                  <a:cubicBezTo>
                    <a:pt x="26" y="44"/>
                    <a:pt x="23" y="31"/>
                    <a:pt x="18" y="18"/>
                  </a:cubicBezTo>
                  <a:cubicBezTo>
                    <a:pt x="31" y="13"/>
                    <a:pt x="41" y="8"/>
                    <a:pt x="54" y="6"/>
                  </a:cubicBezTo>
                  <a:cubicBezTo>
                    <a:pt x="75" y="3"/>
                    <a:pt x="95" y="0"/>
                    <a:pt x="116" y="0"/>
                  </a:cubicBezTo>
                  <a:cubicBezTo>
                    <a:pt x="159" y="3"/>
                    <a:pt x="188" y="31"/>
                    <a:pt x="190" y="75"/>
                  </a:cubicBezTo>
                  <a:cubicBezTo>
                    <a:pt x="193" y="98"/>
                    <a:pt x="190" y="118"/>
                    <a:pt x="193" y="141"/>
                  </a:cubicBezTo>
                  <a:cubicBezTo>
                    <a:pt x="193" y="167"/>
                    <a:pt x="193" y="193"/>
                    <a:pt x="193" y="221"/>
                  </a:cubicBezTo>
                  <a:close/>
                </a:path>
              </a:pathLst>
            </a:custGeom>
            <a:solidFill>
              <a:srgbClr val="FEFE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8" name="Freeform 54"/>
            <p:cNvSpPr>
              <a:spLocks/>
            </p:cNvSpPr>
            <p:nvPr/>
          </p:nvSpPr>
          <p:spPr bwMode="auto">
            <a:xfrm>
              <a:off x="475" y="3720"/>
              <a:ext cx="18" cy="49"/>
            </a:xfrm>
            <a:custGeom>
              <a:avLst/>
              <a:gdLst>
                <a:gd name="T0" fmla="*/ 0 w 107"/>
                <a:gd name="T1" fmla="*/ 0 h 292"/>
                <a:gd name="T2" fmla="*/ 59 w 107"/>
                <a:gd name="T3" fmla="*/ 0 h 292"/>
                <a:gd name="T4" fmla="*/ 59 w 107"/>
                <a:gd name="T5" fmla="*/ 66 h 292"/>
                <a:gd name="T6" fmla="*/ 107 w 107"/>
                <a:gd name="T7" fmla="*/ 66 h 292"/>
                <a:gd name="T8" fmla="*/ 107 w 107"/>
                <a:gd name="T9" fmla="*/ 123 h 292"/>
                <a:gd name="T10" fmla="*/ 59 w 107"/>
                <a:gd name="T11" fmla="*/ 123 h 292"/>
                <a:gd name="T12" fmla="*/ 59 w 107"/>
                <a:gd name="T13" fmla="*/ 218 h 292"/>
                <a:gd name="T14" fmla="*/ 87 w 107"/>
                <a:gd name="T15" fmla="*/ 241 h 292"/>
                <a:gd name="T16" fmla="*/ 107 w 107"/>
                <a:gd name="T17" fmla="*/ 238 h 292"/>
                <a:gd name="T18" fmla="*/ 107 w 107"/>
                <a:gd name="T19" fmla="*/ 279 h 292"/>
                <a:gd name="T20" fmla="*/ 102 w 107"/>
                <a:gd name="T21" fmla="*/ 287 h 292"/>
                <a:gd name="T22" fmla="*/ 41 w 107"/>
                <a:gd name="T23" fmla="*/ 287 h 292"/>
                <a:gd name="T24" fmla="*/ 2 w 107"/>
                <a:gd name="T25" fmla="*/ 233 h 292"/>
                <a:gd name="T26" fmla="*/ 0 w 107"/>
                <a:gd name="T27" fmla="*/ 202 h 292"/>
                <a:gd name="T28" fmla="*/ 0 w 107"/>
                <a:gd name="T29" fmla="*/ 13 h 292"/>
                <a:gd name="T30" fmla="*/ 0 w 107"/>
                <a:gd name="T31" fmla="*/ 0 h 2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07" h="292">
                  <a:moveTo>
                    <a:pt x="0" y="0"/>
                  </a:moveTo>
                  <a:cubicBezTo>
                    <a:pt x="20" y="0"/>
                    <a:pt x="38" y="0"/>
                    <a:pt x="59" y="0"/>
                  </a:cubicBezTo>
                  <a:cubicBezTo>
                    <a:pt x="59" y="20"/>
                    <a:pt x="59" y="43"/>
                    <a:pt x="59" y="66"/>
                  </a:cubicBezTo>
                  <a:cubicBezTo>
                    <a:pt x="74" y="66"/>
                    <a:pt x="92" y="66"/>
                    <a:pt x="107" y="66"/>
                  </a:cubicBezTo>
                  <a:cubicBezTo>
                    <a:pt x="107" y="84"/>
                    <a:pt x="107" y="102"/>
                    <a:pt x="107" y="123"/>
                  </a:cubicBezTo>
                  <a:cubicBezTo>
                    <a:pt x="92" y="123"/>
                    <a:pt x="77" y="123"/>
                    <a:pt x="59" y="123"/>
                  </a:cubicBezTo>
                  <a:cubicBezTo>
                    <a:pt x="59" y="154"/>
                    <a:pt x="59" y="187"/>
                    <a:pt x="59" y="218"/>
                  </a:cubicBezTo>
                  <a:cubicBezTo>
                    <a:pt x="61" y="236"/>
                    <a:pt x="72" y="241"/>
                    <a:pt x="87" y="241"/>
                  </a:cubicBezTo>
                  <a:cubicBezTo>
                    <a:pt x="95" y="241"/>
                    <a:pt x="100" y="241"/>
                    <a:pt x="107" y="238"/>
                  </a:cubicBezTo>
                  <a:cubicBezTo>
                    <a:pt x="107" y="254"/>
                    <a:pt x="107" y="266"/>
                    <a:pt x="107" y="279"/>
                  </a:cubicBezTo>
                  <a:cubicBezTo>
                    <a:pt x="107" y="282"/>
                    <a:pt x="105" y="284"/>
                    <a:pt x="102" y="287"/>
                  </a:cubicBezTo>
                  <a:cubicBezTo>
                    <a:pt x="82" y="292"/>
                    <a:pt x="61" y="292"/>
                    <a:pt x="41" y="287"/>
                  </a:cubicBezTo>
                  <a:cubicBezTo>
                    <a:pt x="15" y="279"/>
                    <a:pt x="5" y="259"/>
                    <a:pt x="2" y="233"/>
                  </a:cubicBezTo>
                  <a:cubicBezTo>
                    <a:pt x="0" y="223"/>
                    <a:pt x="0" y="213"/>
                    <a:pt x="0" y="202"/>
                  </a:cubicBezTo>
                  <a:cubicBezTo>
                    <a:pt x="0" y="138"/>
                    <a:pt x="0" y="74"/>
                    <a:pt x="0" y="13"/>
                  </a:cubicBezTo>
                  <a:cubicBezTo>
                    <a:pt x="0" y="7"/>
                    <a:pt x="0" y="5"/>
                    <a:pt x="0" y="0"/>
                  </a:cubicBezTo>
                  <a:close/>
                </a:path>
              </a:pathLst>
            </a:custGeom>
            <a:solidFill>
              <a:srgbClr val="FEFE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9" name="Freeform 55"/>
            <p:cNvSpPr>
              <a:spLocks/>
            </p:cNvSpPr>
            <p:nvPr/>
          </p:nvSpPr>
          <p:spPr bwMode="auto">
            <a:xfrm>
              <a:off x="451" y="3730"/>
              <a:ext cx="20" cy="37"/>
            </a:xfrm>
            <a:custGeom>
              <a:avLst/>
              <a:gdLst>
                <a:gd name="T0" fmla="*/ 51 w 126"/>
                <a:gd name="T1" fmla="*/ 11 h 223"/>
                <a:gd name="T2" fmla="*/ 51 w 126"/>
                <a:gd name="T3" fmla="*/ 49 h 223"/>
                <a:gd name="T4" fmla="*/ 126 w 126"/>
                <a:gd name="T5" fmla="*/ 5 h 223"/>
                <a:gd name="T6" fmla="*/ 126 w 126"/>
                <a:gd name="T7" fmla="*/ 62 h 223"/>
                <a:gd name="T8" fmla="*/ 108 w 126"/>
                <a:gd name="T9" fmla="*/ 62 h 223"/>
                <a:gd name="T10" fmla="*/ 62 w 126"/>
                <a:gd name="T11" fmla="*/ 105 h 223"/>
                <a:gd name="T12" fmla="*/ 59 w 126"/>
                <a:gd name="T13" fmla="*/ 213 h 223"/>
                <a:gd name="T14" fmla="*/ 59 w 126"/>
                <a:gd name="T15" fmla="*/ 223 h 223"/>
                <a:gd name="T16" fmla="*/ 0 w 126"/>
                <a:gd name="T17" fmla="*/ 223 h 223"/>
                <a:gd name="T18" fmla="*/ 0 w 126"/>
                <a:gd name="T19" fmla="*/ 11 h 223"/>
                <a:gd name="T20" fmla="*/ 51 w 126"/>
                <a:gd name="T21" fmla="*/ 11 h 2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26" h="223">
                  <a:moveTo>
                    <a:pt x="51" y="11"/>
                  </a:moveTo>
                  <a:cubicBezTo>
                    <a:pt x="51" y="23"/>
                    <a:pt x="51" y="34"/>
                    <a:pt x="51" y="49"/>
                  </a:cubicBezTo>
                  <a:cubicBezTo>
                    <a:pt x="69" y="16"/>
                    <a:pt x="90" y="0"/>
                    <a:pt x="126" y="5"/>
                  </a:cubicBezTo>
                  <a:cubicBezTo>
                    <a:pt x="126" y="23"/>
                    <a:pt x="126" y="41"/>
                    <a:pt x="126" y="62"/>
                  </a:cubicBezTo>
                  <a:cubicBezTo>
                    <a:pt x="121" y="62"/>
                    <a:pt x="113" y="62"/>
                    <a:pt x="108" y="62"/>
                  </a:cubicBezTo>
                  <a:cubicBezTo>
                    <a:pt x="80" y="62"/>
                    <a:pt x="62" y="77"/>
                    <a:pt x="62" y="105"/>
                  </a:cubicBezTo>
                  <a:cubicBezTo>
                    <a:pt x="59" y="141"/>
                    <a:pt x="59" y="177"/>
                    <a:pt x="59" y="213"/>
                  </a:cubicBezTo>
                  <a:cubicBezTo>
                    <a:pt x="59" y="216"/>
                    <a:pt x="59" y="221"/>
                    <a:pt x="59" y="223"/>
                  </a:cubicBezTo>
                  <a:cubicBezTo>
                    <a:pt x="39" y="223"/>
                    <a:pt x="21" y="223"/>
                    <a:pt x="0" y="223"/>
                  </a:cubicBezTo>
                  <a:cubicBezTo>
                    <a:pt x="0" y="154"/>
                    <a:pt x="0" y="82"/>
                    <a:pt x="0" y="11"/>
                  </a:cubicBezTo>
                  <a:cubicBezTo>
                    <a:pt x="18" y="11"/>
                    <a:pt x="33" y="11"/>
                    <a:pt x="51" y="11"/>
                  </a:cubicBezTo>
                  <a:close/>
                </a:path>
              </a:pathLst>
            </a:custGeom>
            <a:solidFill>
              <a:srgbClr val="FEFE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0" name="Freeform 56"/>
            <p:cNvSpPr>
              <a:spLocks/>
            </p:cNvSpPr>
            <p:nvPr/>
          </p:nvSpPr>
          <p:spPr bwMode="auto">
            <a:xfrm>
              <a:off x="340" y="3720"/>
              <a:ext cx="10" cy="47"/>
            </a:xfrm>
            <a:custGeom>
              <a:avLst/>
              <a:gdLst>
                <a:gd name="T0" fmla="*/ 56 w 56"/>
                <a:gd name="T1" fmla="*/ 0 h 284"/>
                <a:gd name="T2" fmla="*/ 56 w 56"/>
                <a:gd name="T3" fmla="*/ 284 h 284"/>
                <a:gd name="T4" fmla="*/ 0 w 56"/>
                <a:gd name="T5" fmla="*/ 284 h 284"/>
                <a:gd name="T6" fmla="*/ 0 w 56"/>
                <a:gd name="T7" fmla="*/ 0 h 284"/>
                <a:gd name="T8" fmla="*/ 56 w 56"/>
                <a:gd name="T9" fmla="*/ 0 h 2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6" h="284">
                  <a:moveTo>
                    <a:pt x="56" y="0"/>
                  </a:moveTo>
                  <a:cubicBezTo>
                    <a:pt x="56" y="95"/>
                    <a:pt x="56" y="189"/>
                    <a:pt x="56" y="284"/>
                  </a:cubicBezTo>
                  <a:cubicBezTo>
                    <a:pt x="39" y="284"/>
                    <a:pt x="18" y="284"/>
                    <a:pt x="0" y="284"/>
                  </a:cubicBezTo>
                  <a:cubicBezTo>
                    <a:pt x="0" y="189"/>
                    <a:pt x="0" y="95"/>
                    <a:pt x="0" y="0"/>
                  </a:cubicBezTo>
                  <a:cubicBezTo>
                    <a:pt x="18" y="0"/>
                    <a:pt x="36" y="0"/>
                    <a:pt x="56" y="0"/>
                  </a:cubicBezTo>
                  <a:close/>
                </a:path>
              </a:pathLst>
            </a:custGeom>
            <a:solidFill>
              <a:srgbClr val="FEFE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1" name="Freeform 57"/>
            <p:cNvSpPr>
              <a:spLocks/>
            </p:cNvSpPr>
            <p:nvPr/>
          </p:nvSpPr>
          <p:spPr bwMode="auto">
            <a:xfrm>
              <a:off x="508" y="3747"/>
              <a:ext cx="26" cy="21"/>
            </a:xfrm>
            <a:custGeom>
              <a:avLst/>
              <a:gdLst>
                <a:gd name="T0" fmla="*/ 159 w 159"/>
                <a:gd name="T1" fmla="*/ 33 h 125"/>
                <a:gd name="T2" fmla="*/ 151 w 159"/>
                <a:gd name="T3" fmla="*/ 46 h 125"/>
                <a:gd name="T4" fmla="*/ 48 w 159"/>
                <a:gd name="T5" fmla="*/ 118 h 125"/>
                <a:gd name="T6" fmla="*/ 46 w 159"/>
                <a:gd name="T7" fmla="*/ 120 h 125"/>
                <a:gd name="T8" fmla="*/ 7 w 159"/>
                <a:gd name="T9" fmla="*/ 100 h 125"/>
                <a:gd name="T10" fmla="*/ 15 w 159"/>
                <a:gd name="T11" fmla="*/ 59 h 125"/>
                <a:gd name="T12" fmla="*/ 123 w 159"/>
                <a:gd name="T13" fmla="*/ 10 h 125"/>
                <a:gd name="T14" fmla="*/ 159 w 159"/>
                <a:gd name="T15" fmla="*/ 33 h 1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59" h="125">
                  <a:moveTo>
                    <a:pt x="159" y="33"/>
                  </a:moveTo>
                  <a:cubicBezTo>
                    <a:pt x="156" y="38"/>
                    <a:pt x="154" y="43"/>
                    <a:pt x="151" y="46"/>
                  </a:cubicBezTo>
                  <a:cubicBezTo>
                    <a:pt x="118" y="72"/>
                    <a:pt x="84" y="95"/>
                    <a:pt x="48" y="118"/>
                  </a:cubicBezTo>
                  <a:cubicBezTo>
                    <a:pt x="46" y="120"/>
                    <a:pt x="46" y="120"/>
                    <a:pt x="46" y="120"/>
                  </a:cubicBezTo>
                  <a:cubicBezTo>
                    <a:pt x="33" y="125"/>
                    <a:pt x="18" y="118"/>
                    <a:pt x="7" y="100"/>
                  </a:cubicBezTo>
                  <a:cubicBezTo>
                    <a:pt x="0" y="82"/>
                    <a:pt x="2" y="66"/>
                    <a:pt x="15" y="59"/>
                  </a:cubicBezTo>
                  <a:cubicBezTo>
                    <a:pt x="51" y="43"/>
                    <a:pt x="87" y="25"/>
                    <a:pt x="123" y="10"/>
                  </a:cubicBezTo>
                  <a:cubicBezTo>
                    <a:pt x="141" y="0"/>
                    <a:pt x="159" y="13"/>
                    <a:pt x="159" y="33"/>
                  </a:cubicBezTo>
                  <a:close/>
                </a:path>
              </a:pathLst>
            </a:custGeom>
            <a:solidFill>
              <a:srgbClr val="FBB32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2" name="Freeform 58"/>
            <p:cNvSpPr>
              <a:spLocks/>
            </p:cNvSpPr>
            <p:nvPr/>
          </p:nvSpPr>
          <p:spPr bwMode="auto">
            <a:xfrm>
              <a:off x="555" y="3720"/>
              <a:ext cx="26" cy="20"/>
            </a:xfrm>
            <a:custGeom>
              <a:avLst/>
              <a:gdLst>
                <a:gd name="T0" fmla="*/ 156 w 156"/>
                <a:gd name="T1" fmla="*/ 41 h 121"/>
                <a:gd name="T2" fmla="*/ 143 w 156"/>
                <a:gd name="T3" fmla="*/ 64 h 121"/>
                <a:gd name="T4" fmla="*/ 36 w 156"/>
                <a:gd name="T5" fmla="*/ 116 h 121"/>
                <a:gd name="T6" fmla="*/ 5 w 156"/>
                <a:gd name="T7" fmla="*/ 105 h 121"/>
                <a:gd name="T8" fmla="*/ 13 w 156"/>
                <a:gd name="T9" fmla="*/ 75 h 121"/>
                <a:gd name="T10" fmla="*/ 108 w 156"/>
                <a:gd name="T11" fmla="*/ 8 h 121"/>
                <a:gd name="T12" fmla="*/ 141 w 156"/>
                <a:gd name="T13" fmla="*/ 10 h 121"/>
                <a:gd name="T14" fmla="*/ 156 w 156"/>
                <a:gd name="T15" fmla="*/ 41 h 1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56" h="121">
                  <a:moveTo>
                    <a:pt x="156" y="41"/>
                  </a:moveTo>
                  <a:cubicBezTo>
                    <a:pt x="156" y="54"/>
                    <a:pt x="154" y="59"/>
                    <a:pt x="143" y="64"/>
                  </a:cubicBezTo>
                  <a:cubicBezTo>
                    <a:pt x="108" y="82"/>
                    <a:pt x="72" y="98"/>
                    <a:pt x="36" y="116"/>
                  </a:cubicBezTo>
                  <a:cubicBezTo>
                    <a:pt x="23" y="121"/>
                    <a:pt x="13" y="118"/>
                    <a:pt x="5" y="105"/>
                  </a:cubicBezTo>
                  <a:cubicBezTo>
                    <a:pt x="0" y="93"/>
                    <a:pt x="0" y="82"/>
                    <a:pt x="13" y="75"/>
                  </a:cubicBezTo>
                  <a:cubicBezTo>
                    <a:pt x="43" y="51"/>
                    <a:pt x="74" y="31"/>
                    <a:pt x="108" y="8"/>
                  </a:cubicBezTo>
                  <a:cubicBezTo>
                    <a:pt x="120" y="0"/>
                    <a:pt x="131" y="0"/>
                    <a:pt x="141" y="10"/>
                  </a:cubicBezTo>
                  <a:cubicBezTo>
                    <a:pt x="151" y="18"/>
                    <a:pt x="156" y="28"/>
                    <a:pt x="156" y="41"/>
                  </a:cubicBezTo>
                  <a:close/>
                </a:path>
              </a:pathLst>
            </a:custGeom>
            <a:solidFill>
              <a:srgbClr val="FBB32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3" name="Freeform 59"/>
            <p:cNvSpPr>
              <a:spLocks/>
            </p:cNvSpPr>
            <p:nvPr/>
          </p:nvSpPr>
          <p:spPr bwMode="auto">
            <a:xfrm>
              <a:off x="539" y="3757"/>
              <a:ext cx="12" cy="28"/>
            </a:xfrm>
            <a:custGeom>
              <a:avLst/>
              <a:gdLst>
                <a:gd name="T0" fmla="*/ 0 w 70"/>
                <a:gd name="T1" fmla="*/ 136 h 169"/>
                <a:gd name="T2" fmla="*/ 11 w 70"/>
                <a:gd name="T3" fmla="*/ 18 h 169"/>
                <a:gd name="T4" fmla="*/ 34 w 70"/>
                <a:gd name="T5" fmla="*/ 0 h 169"/>
                <a:gd name="T6" fmla="*/ 57 w 70"/>
                <a:gd name="T7" fmla="*/ 18 h 169"/>
                <a:gd name="T8" fmla="*/ 67 w 70"/>
                <a:gd name="T9" fmla="*/ 123 h 169"/>
                <a:gd name="T10" fmla="*/ 67 w 70"/>
                <a:gd name="T11" fmla="*/ 133 h 169"/>
                <a:gd name="T12" fmla="*/ 52 w 70"/>
                <a:gd name="T13" fmla="*/ 164 h 169"/>
                <a:gd name="T14" fmla="*/ 3 w 70"/>
                <a:gd name="T15" fmla="*/ 154 h 169"/>
                <a:gd name="T16" fmla="*/ 0 w 70"/>
                <a:gd name="T17" fmla="*/ 136 h 169"/>
                <a:gd name="T18" fmla="*/ 0 w 70"/>
                <a:gd name="T19" fmla="*/ 136 h 1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0" h="169">
                  <a:moveTo>
                    <a:pt x="0" y="136"/>
                  </a:moveTo>
                  <a:cubicBezTo>
                    <a:pt x="6" y="97"/>
                    <a:pt x="8" y="56"/>
                    <a:pt x="11" y="18"/>
                  </a:cubicBezTo>
                  <a:cubicBezTo>
                    <a:pt x="13" y="5"/>
                    <a:pt x="21" y="0"/>
                    <a:pt x="34" y="0"/>
                  </a:cubicBezTo>
                  <a:cubicBezTo>
                    <a:pt x="49" y="0"/>
                    <a:pt x="57" y="5"/>
                    <a:pt x="57" y="18"/>
                  </a:cubicBezTo>
                  <a:cubicBezTo>
                    <a:pt x="62" y="54"/>
                    <a:pt x="65" y="87"/>
                    <a:pt x="67" y="123"/>
                  </a:cubicBezTo>
                  <a:cubicBezTo>
                    <a:pt x="67" y="125"/>
                    <a:pt x="67" y="128"/>
                    <a:pt x="67" y="133"/>
                  </a:cubicBezTo>
                  <a:cubicBezTo>
                    <a:pt x="70" y="151"/>
                    <a:pt x="65" y="159"/>
                    <a:pt x="52" y="164"/>
                  </a:cubicBezTo>
                  <a:cubicBezTo>
                    <a:pt x="34" y="169"/>
                    <a:pt x="11" y="166"/>
                    <a:pt x="3" y="154"/>
                  </a:cubicBezTo>
                  <a:cubicBezTo>
                    <a:pt x="0" y="148"/>
                    <a:pt x="0" y="143"/>
                    <a:pt x="0" y="136"/>
                  </a:cubicBezTo>
                  <a:cubicBezTo>
                    <a:pt x="0" y="136"/>
                    <a:pt x="0" y="136"/>
                    <a:pt x="0" y="136"/>
                  </a:cubicBezTo>
                  <a:close/>
                </a:path>
              </a:pathLst>
            </a:custGeom>
            <a:solidFill>
              <a:srgbClr val="FBB32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4" name="Freeform 60"/>
            <p:cNvSpPr>
              <a:spLocks/>
            </p:cNvSpPr>
            <p:nvPr/>
          </p:nvSpPr>
          <p:spPr bwMode="auto">
            <a:xfrm>
              <a:off x="555" y="3748"/>
              <a:ext cx="26" cy="20"/>
            </a:xfrm>
            <a:custGeom>
              <a:avLst/>
              <a:gdLst>
                <a:gd name="T0" fmla="*/ 156 w 156"/>
                <a:gd name="T1" fmla="*/ 82 h 121"/>
                <a:gd name="T2" fmla="*/ 138 w 156"/>
                <a:gd name="T3" fmla="*/ 113 h 121"/>
                <a:gd name="T4" fmla="*/ 108 w 156"/>
                <a:gd name="T5" fmla="*/ 113 h 121"/>
                <a:gd name="T6" fmla="*/ 13 w 156"/>
                <a:gd name="T7" fmla="*/ 47 h 121"/>
                <a:gd name="T8" fmla="*/ 8 w 156"/>
                <a:gd name="T9" fmla="*/ 16 h 121"/>
                <a:gd name="T10" fmla="*/ 36 w 156"/>
                <a:gd name="T11" fmla="*/ 6 h 121"/>
                <a:gd name="T12" fmla="*/ 143 w 156"/>
                <a:gd name="T13" fmla="*/ 57 h 121"/>
                <a:gd name="T14" fmla="*/ 156 w 156"/>
                <a:gd name="T15" fmla="*/ 82 h 1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56" h="121">
                  <a:moveTo>
                    <a:pt x="156" y="82"/>
                  </a:moveTo>
                  <a:cubicBezTo>
                    <a:pt x="156" y="93"/>
                    <a:pt x="151" y="106"/>
                    <a:pt x="138" y="113"/>
                  </a:cubicBezTo>
                  <a:cubicBezTo>
                    <a:pt x="128" y="121"/>
                    <a:pt x="120" y="121"/>
                    <a:pt x="108" y="113"/>
                  </a:cubicBezTo>
                  <a:cubicBezTo>
                    <a:pt x="77" y="93"/>
                    <a:pt x="43" y="70"/>
                    <a:pt x="13" y="47"/>
                  </a:cubicBezTo>
                  <a:cubicBezTo>
                    <a:pt x="0" y="39"/>
                    <a:pt x="0" y="29"/>
                    <a:pt x="8" y="16"/>
                  </a:cubicBezTo>
                  <a:cubicBezTo>
                    <a:pt x="13" y="3"/>
                    <a:pt x="23" y="0"/>
                    <a:pt x="36" y="6"/>
                  </a:cubicBezTo>
                  <a:cubicBezTo>
                    <a:pt x="72" y="23"/>
                    <a:pt x="108" y="39"/>
                    <a:pt x="143" y="57"/>
                  </a:cubicBezTo>
                  <a:cubicBezTo>
                    <a:pt x="154" y="62"/>
                    <a:pt x="156" y="70"/>
                    <a:pt x="156" y="82"/>
                  </a:cubicBezTo>
                  <a:close/>
                </a:path>
              </a:pathLst>
            </a:custGeom>
            <a:solidFill>
              <a:srgbClr val="FBB32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5" name="Freeform 61"/>
            <p:cNvSpPr>
              <a:spLocks/>
            </p:cNvSpPr>
            <p:nvPr/>
          </p:nvSpPr>
          <p:spPr bwMode="auto">
            <a:xfrm>
              <a:off x="539" y="3703"/>
              <a:ext cx="12" cy="27"/>
            </a:xfrm>
            <a:custGeom>
              <a:avLst/>
              <a:gdLst>
                <a:gd name="T0" fmla="*/ 34 w 70"/>
                <a:gd name="T1" fmla="*/ 0 h 166"/>
                <a:gd name="T2" fmla="*/ 57 w 70"/>
                <a:gd name="T3" fmla="*/ 5 h 166"/>
                <a:gd name="T4" fmla="*/ 70 w 70"/>
                <a:gd name="T5" fmla="*/ 25 h 166"/>
                <a:gd name="T6" fmla="*/ 57 w 70"/>
                <a:gd name="T7" fmla="*/ 148 h 166"/>
                <a:gd name="T8" fmla="*/ 34 w 70"/>
                <a:gd name="T9" fmla="*/ 166 h 166"/>
                <a:gd name="T10" fmla="*/ 11 w 70"/>
                <a:gd name="T11" fmla="*/ 146 h 166"/>
                <a:gd name="T12" fmla="*/ 0 w 70"/>
                <a:gd name="T13" fmla="*/ 36 h 166"/>
                <a:gd name="T14" fmla="*/ 34 w 70"/>
                <a:gd name="T15" fmla="*/ 0 h 1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0" h="166">
                  <a:moveTo>
                    <a:pt x="34" y="0"/>
                  </a:moveTo>
                  <a:cubicBezTo>
                    <a:pt x="41" y="0"/>
                    <a:pt x="49" y="2"/>
                    <a:pt x="57" y="5"/>
                  </a:cubicBezTo>
                  <a:cubicBezTo>
                    <a:pt x="65" y="10"/>
                    <a:pt x="70" y="18"/>
                    <a:pt x="70" y="25"/>
                  </a:cubicBezTo>
                  <a:cubicBezTo>
                    <a:pt x="65" y="66"/>
                    <a:pt x="62" y="107"/>
                    <a:pt x="57" y="148"/>
                  </a:cubicBezTo>
                  <a:cubicBezTo>
                    <a:pt x="57" y="161"/>
                    <a:pt x="49" y="166"/>
                    <a:pt x="34" y="166"/>
                  </a:cubicBezTo>
                  <a:cubicBezTo>
                    <a:pt x="18" y="166"/>
                    <a:pt x="13" y="161"/>
                    <a:pt x="11" y="146"/>
                  </a:cubicBezTo>
                  <a:cubicBezTo>
                    <a:pt x="8" y="110"/>
                    <a:pt x="6" y="71"/>
                    <a:pt x="0" y="36"/>
                  </a:cubicBezTo>
                  <a:cubicBezTo>
                    <a:pt x="0" y="10"/>
                    <a:pt x="11" y="0"/>
                    <a:pt x="34" y="0"/>
                  </a:cubicBezTo>
                  <a:close/>
                </a:path>
              </a:pathLst>
            </a:custGeom>
            <a:solidFill>
              <a:srgbClr val="FBB32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6" name="Freeform 62"/>
            <p:cNvSpPr>
              <a:spLocks/>
            </p:cNvSpPr>
            <p:nvPr/>
          </p:nvSpPr>
          <p:spPr bwMode="auto">
            <a:xfrm>
              <a:off x="508" y="3720"/>
              <a:ext cx="27" cy="20"/>
            </a:xfrm>
            <a:custGeom>
              <a:avLst/>
              <a:gdLst>
                <a:gd name="T0" fmla="*/ 159 w 159"/>
                <a:gd name="T1" fmla="*/ 90 h 123"/>
                <a:gd name="T2" fmla="*/ 121 w 159"/>
                <a:gd name="T3" fmla="*/ 113 h 123"/>
                <a:gd name="T4" fmla="*/ 18 w 159"/>
                <a:gd name="T5" fmla="*/ 67 h 123"/>
                <a:gd name="T6" fmla="*/ 3 w 159"/>
                <a:gd name="T7" fmla="*/ 36 h 123"/>
                <a:gd name="T8" fmla="*/ 21 w 159"/>
                <a:gd name="T9" fmla="*/ 8 h 123"/>
                <a:gd name="T10" fmla="*/ 49 w 159"/>
                <a:gd name="T11" fmla="*/ 8 h 123"/>
                <a:gd name="T12" fmla="*/ 146 w 159"/>
                <a:gd name="T13" fmla="*/ 75 h 123"/>
                <a:gd name="T14" fmla="*/ 159 w 159"/>
                <a:gd name="T15" fmla="*/ 90 h 1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59" h="123">
                  <a:moveTo>
                    <a:pt x="159" y="90"/>
                  </a:moveTo>
                  <a:cubicBezTo>
                    <a:pt x="157" y="110"/>
                    <a:pt x="139" y="123"/>
                    <a:pt x="121" y="113"/>
                  </a:cubicBezTo>
                  <a:cubicBezTo>
                    <a:pt x="87" y="98"/>
                    <a:pt x="52" y="82"/>
                    <a:pt x="18" y="67"/>
                  </a:cubicBezTo>
                  <a:cubicBezTo>
                    <a:pt x="3" y="59"/>
                    <a:pt x="0" y="51"/>
                    <a:pt x="3" y="36"/>
                  </a:cubicBezTo>
                  <a:cubicBezTo>
                    <a:pt x="3" y="23"/>
                    <a:pt x="11" y="16"/>
                    <a:pt x="21" y="8"/>
                  </a:cubicBezTo>
                  <a:cubicBezTo>
                    <a:pt x="31" y="0"/>
                    <a:pt x="39" y="0"/>
                    <a:pt x="49" y="8"/>
                  </a:cubicBezTo>
                  <a:cubicBezTo>
                    <a:pt x="82" y="31"/>
                    <a:pt x="113" y="51"/>
                    <a:pt x="146" y="75"/>
                  </a:cubicBezTo>
                  <a:cubicBezTo>
                    <a:pt x="152" y="77"/>
                    <a:pt x="154" y="85"/>
                    <a:pt x="159" y="90"/>
                  </a:cubicBezTo>
                  <a:close/>
                </a:path>
              </a:pathLst>
            </a:custGeom>
            <a:solidFill>
              <a:srgbClr val="FBB32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7" name="Freeform 63"/>
            <p:cNvSpPr>
              <a:spLocks/>
            </p:cNvSpPr>
            <p:nvPr/>
          </p:nvSpPr>
          <p:spPr bwMode="auto">
            <a:xfrm>
              <a:off x="312" y="3750"/>
              <a:ext cx="12" cy="13"/>
            </a:xfrm>
            <a:custGeom>
              <a:avLst/>
              <a:gdLst>
                <a:gd name="T0" fmla="*/ 74 w 77"/>
                <a:gd name="T1" fmla="*/ 0 h 74"/>
                <a:gd name="T2" fmla="*/ 74 w 77"/>
                <a:gd name="T3" fmla="*/ 33 h 74"/>
                <a:gd name="T4" fmla="*/ 20 w 77"/>
                <a:gd name="T5" fmla="*/ 61 h 74"/>
                <a:gd name="T6" fmla="*/ 15 w 77"/>
                <a:gd name="T7" fmla="*/ 18 h 74"/>
                <a:gd name="T8" fmla="*/ 41 w 77"/>
                <a:gd name="T9" fmla="*/ 2 h 74"/>
                <a:gd name="T10" fmla="*/ 74 w 77"/>
                <a:gd name="T11" fmla="*/ 0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7" h="74">
                  <a:moveTo>
                    <a:pt x="74" y="0"/>
                  </a:moveTo>
                  <a:cubicBezTo>
                    <a:pt x="74" y="13"/>
                    <a:pt x="77" y="23"/>
                    <a:pt x="74" y="33"/>
                  </a:cubicBezTo>
                  <a:cubicBezTo>
                    <a:pt x="72" y="56"/>
                    <a:pt x="41" y="74"/>
                    <a:pt x="20" y="61"/>
                  </a:cubicBezTo>
                  <a:cubicBezTo>
                    <a:pt x="5" y="54"/>
                    <a:pt x="0" y="28"/>
                    <a:pt x="15" y="18"/>
                  </a:cubicBezTo>
                  <a:cubicBezTo>
                    <a:pt x="23" y="10"/>
                    <a:pt x="33" y="5"/>
                    <a:pt x="41" y="2"/>
                  </a:cubicBezTo>
                  <a:cubicBezTo>
                    <a:pt x="51" y="0"/>
                    <a:pt x="64" y="0"/>
                    <a:pt x="74" y="0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8" name="Freeform 64"/>
            <p:cNvSpPr>
              <a:spLocks/>
            </p:cNvSpPr>
            <p:nvPr/>
          </p:nvSpPr>
          <p:spPr bwMode="auto">
            <a:xfrm>
              <a:off x="423" y="3750"/>
              <a:ext cx="12" cy="12"/>
            </a:xfrm>
            <a:custGeom>
              <a:avLst/>
              <a:gdLst>
                <a:gd name="T0" fmla="*/ 72 w 72"/>
                <a:gd name="T1" fmla="*/ 0 h 69"/>
                <a:gd name="T2" fmla="*/ 69 w 72"/>
                <a:gd name="T3" fmla="*/ 33 h 69"/>
                <a:gd name="T4" fmla="*/ 23 w 72"/>
                <a:gd name="T5" fmla="*/ 64 h 69"/>
                <a:gd name="T6" fmla="*/ 2 w 72"/>
                <a:gd name="T7" fmla="*/ 46 h 69"/>
                <a:gd name="T8" fmla="*/ 13 w 72"/>
                <a:gd name="T9" fmla="*/ 15 h 69"/>
                <a:gd name="T10" fmla="*/ 36 w 72"/>
                <a:gd name="T11" fmla="*/ 5 h 69"/>
                <a:gd name="T12" fmla="*/ 72 w 72"/>
                <a:gd name="T13" fmla="*/ 0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2" h="69">
                  <a:moveTo>
                    <a:pt x="72" y="0"/>
                  </a:moveTo>
                  <a:cubicBezTo>
                    <a:pt x="72" y="13"/>
                    <a:pt x="72" y="23"/>
                    <a:pt x="69" y="33"/>
                  </a:cubicBezTo>
                  <a:cubicBezTo>
                    <a:pt x="67" y="56"/>
                    <a:pt x="44" y="69"/>
                    <a:pt x="23" y="64"/>
                  </a:cubicBezTo>
                  <a:cubicBezTo>
                    <a:pt x="13" y="61"/>
                    <a:pt x="5" y="56"/>
                    <a:pt x="2" y="46"/>
                  </a:cubicBezTo>
                  <a:cubicBezTo>
                    <a:pt x="0" y="33"/>
                    <a:pt x="2" y="23"/>
                    <a:pt x="13" y="15"/>
                  </a:cubicBezTo>
                  <a:cubicBezTo>
                    <a:pt x="20" y="10"/>
                    <a:pt x="28" y="5"/>
                    <a:pt x="36" y="5"/>
                  </a:cubicBezTo>
                  <a:cubicBezTo>
                    <a:pt x="46" y="0"/>
                    <a:pt x="59" y="0"/>
                    <a:pt x="72" y="0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9" name="Freeform 65"/>
            <p:cNvSpPr>
              <a:spLocks noEditPoints="1"/>
            </p:cNvSpPr>
            <p:nvPr/>
          </p:nvSpPr>
          <p:spPr bwMode="auto">
            <a:xfrm>
              <a:off x="584" y="3764"/>
              <a:ext cx="6" cy="5"/>
            </a:xfrm>
            <a:custGeom>
              <a:avLst/>
              <a:gdLst>
                <a:gd name="T0" fmla="*/ 36 w 36"/>
                <a:gd name="T1" fmla="*/ 16 h 34"/>
                <a:gd name="T2" fmla="*/ 18 w 36"/>
                <a:gd name="T3" fmla="*/ 34 h 34"/>
                <a:gd name="T4" fmla="*/ 0 w 36"/>
                <a:gd name="T5" fmla="*/ 16 h 34"/>
                <a:gd name="T6" fmla="*/ 18 w 36"/>
                <a:gd name="T7" fmla="*/ 0 h 34"/>
                <a:gd name="T8" fmla="*/ 36 w 36"/>
                <a:gd name="T9" fmla="*/ 16 h 34"/>
                <a:gd name="T10" fmla="*/ 5 w 36"/>
                <a:gd name="T11" fmla="*/ 16 h 34"/>
                <a:gd name="T12" fmla="*/ 18 w 36"/>
                <a:gd name="T13" fmla="*/ 31 h 34"/>
                <a:gd name="T14" fmla="*/ 31 w 36"/>
                <a:gd name="T15" fmla="*/ 16 h 34"/>
                <a:gd name="T16" fmla="*/ 18 w 36"/>
                <a:gd name="T17" fmla="*/ 3 h 34"/>
                <a:gd name="T18" fmla="*/ 5 w 36"/>
                <a:gd name="T19" fmla="*/ 16 h 34"/>
                <a:gd name="T20" fmla="*/ 16 w 36"/>
                <a:gd name="T21" fmla="*/ 26 h 34"/>
                <a:gd name="T22" fmla="*/ 10 w 36"/>
                <a:gd name="T23" fmla="*/ 26 h 34"/>
                <a:gd name="T24" fmla="*/ 10 w 36"/>
                <a:gd name="T25" fmla="*/ 8 h 34"/>
                <a:gd name="T26" fmla="*/ 18 w 36"/>
                <a:gd name="T27" fmla="*/ 8 h 34"/>
                <a:gd name="T28" fmla="*/ 23 w 36"/>
                <a:gd name="T29" fmla="*/ 11 h 34"/>
                <a:gd name="T30" fmla="*/ 26 w 36"/>
                <a:gd name="T31" fmla="*/ 13 h 34"/>
                <a:gd name="T32" fmla="*/ 21 w 36"/>
                <a:gd name="T33" fmla="*/ 16 h 34"/>
                <a:gd name="T34" fmla="*/ 21 w 36"/>
                <a:gd name="T35" fmla="*/ 18 h 34"/>
                <a:gd name="T36" fmla="*/ 26 w 36"/>
                <a:gd name="T37" fmla="*/ 21 h 34"/>
                <a:gd name="T38" fmla="*/ 26 w 36"/>
                <a:gd name="T39" fmla="*/ 26 h 34"/>
                <a:gd name="T40" fmla="*/ 21 w 36"/>
                <a:gd name="T41" fmla="*/ 26 h 34"/>
                <a:gd name="T42" fmla="*/ 21 w 36"/>
                <a:gd name="T43" fmla="*/ 21 h 34"/>
                <a:gd name="T44" fmla="*/ 18 w 36"/>
                <a:gd name="T45" fmla="*/ 18 h 34"/>
                <a:gd name="T46" fmla="*/ 16 w 36"/>
                <a:gd name="T47" fmla="*/ 18 h 34"/>
                <a:gd name="T48" fmla="*/ 16 w 36"/>
                <a:gd name="T49" fmla="*/ 26 h 34"/>
                <a:gd name="T50" fmla="*/ 16 w 36"/>
                <a:gd name="T51" fmla="*/ 16 h 34"/>
                <a:gd name="T52" fmla="*/ 18 w 36"/>
                <a:gd name="T53" fmla="*/ 16 h 34"/>
                <a:gd name="T54" fmla="*/ 21 w 36"/>
                <a:gd name="T55" fmla="*/ 13 h 34"/>
                <a:gd name="T56" fmla="*/ 18 w 36"/>
                <a:gd name="T57" fmla="*/ 11 h 34"/>
                <a:gd name="T58" fmla="*/ 16 w 36"/>
                <a:gd name="T59" fmla="*/ 11 h 34"/>
                <a:gd name="T60" fmla="*/ 16 w 36"/>
                <a:gd name="T61" fmla="*/ 16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36" h="34">
                  <a:moveTo>
                    <a:pt x="36" y="16"/>
                  </a:moveTo>
                  <a:cubicBezTo>
                    <a:pt x="36" y="26"/>
                    <a:pt x="28" y="34"/>
                    <a:pt x="18" y="34"/>
                  </a:cubicBezTo>
                  <a:cubicBezTo>
                    <a:pt x="8" y="34"/>
                    <a:pt x="0" y="26"/>
                    <a:pt x="0" y="16"/>
                  </a:cubicBezTo>
                  <a:cubicBezTo>
                    <a:pt x="0" y="8"/>
                    <a:pt x="8" y="0"/>
                    <a:pt x="18" y="0"/>
                  </a:cubicBezTo>
                  <a:cubicBezTo>
                    <a:pt x="28" y="0"/>
                    <a:pt x="36" y="8"/>
                    <a:pt x="36" y="16"/>
                  </a:cubicBezTo>
                  <a:close/>
                  <a:moveTo>
                    <a:pt x="5" y="16"/>
                  </a:moveTo>
                  <a:cubicBezTo>
                    <a:pt x="5" y="23"/>
                    <a:pt x="10" y="31"/>
                    <a:pt x="18" y="31"/>
                  </a:cubicBezTo>
                  <a:cubicBezTo>
                    <a:pt x="26" y="31"/>
                    <a:pt x="31" y="23"/>
                    <a:pt x="31" y="16"/>
                  </a:cubicBezTo>
                  <a:cubicBezTo>
                    <a:pt x="31" y="11"/>
                    <a:pt x="26" y="3"/>
                    <a:pt x="18" y="3"/>
                  </a:cubicBezTo>
                  <a:cubicBezTo>
                    <a:pt x="10" y="3"/>
                    <a:pt x="5" y="11"/>
                    <a:pt x="5" y="16"/>
                  </a:cubicBezTo>
                  <a:close/>
                  <a:moveTo>
                    <a:pt x="16" y="26"/>
                  </a:moveTo>
                  <a:cubicBezTo>
                    <a:pt x="10" y="26"/>
                    <a:pt x="10" y="26"/>
                    <a:pt x="10" y="26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3" y="8"/>
                    <a:pt x="16" y="8"/>
                    <a:pt x="18" y="8"/>
                  </a:cubicBezTo>
                  <a:cubicBezTo>
                    <a:pt x="21" y="8"/>
                    <a:pt x="23" y="8"/>
                    <a:pt x="23" y="11"/>
                  </a:cubicBezTo>
                  <a:cubicBezTo>
                    <a:pt x="23" y="11"/>
                    <a:pt x="26" y="11"/>
                    <a:pt x="26" y="13"/>
                  </a:cubicBezTo>
                  <a:cubicBezTo>
                    <a:pt x="26" y="16"/>
                    <a:pt x="23" y="16"/>
                    <a:pt x="21" y="16"/>
                  </a:cubicBezTo>
                  <a:cubicBezTo>
                    <a:pt x="21" y="18"/>
                    <a:pt x="21" y="18"/>
                    <a:pt x="21" y="18"/>
                  </a:cubicBezTo>
                  <a:cubicBezTo>
                    <a:pt x="23" y="18"/>
                    <a:pt x="23" y="18"/>
                    <a:pt x="26" y="21"/>
                  </a:cubicBezTo>
                  <a:cubicBezTo>
                    <a:pt x="26" y="23"/>
                    <a:pt x="26" y="23"/>
                    <a:pt x="26" y="26"/>
                  </a:cubicBezTo>
                  <a:cubicBezTo>
                    <a:pt x="21" y="26"/>
                    <a:pt x="21" y="26"/>
                    <a:pt x="21" y="26"/>
                  </a:cubicBezTo>
                  <a:cubicBezTo>
                    <a:pt x="21" y="23"/>
                    <a:pt x="21" y="23"/>
                    <a:pt x="21" y="21"/>
                  </a:cubicBezTo>
                  <a:cubicBezTo>
                    <a:pt x="21" y="18"/>
                    <a:pt x="18" y="18"/>
                    <a:pt x="18" y="18"/>
                  </a:cubicBezTo>
                  <a:cubicBezTo>
                    <a:pt x="16" y="18"/>
                    <a:pt x="16" y="18"/>
                    <a:pt x="16" y="18"/>
                  </a:cubicBezTo>
                  <a:lnTo>
                    <a:pt x="16" y="26"/>
                  </a:lnTo>
                  <a:close/>
                  <a:moveTo>
                    <a:pt x="16" y="16"/>
                  </a:moveTo>
                  <a:cubicBezTo>
                    <a:pt x="18" y="16"/>
                    <a:pt x="18" y="16"/>
                    <a:pt x="18" y="16"/>
                  </a:cubicBezTo>
                  <a:cubicBezTo>
                    <a:pt x="18" y="16"/>
                    <a:pt x="21" y="16"/>
                    <a:pt x="21" y="13"/>
                  </a:cubicBezTo>
                  <a:cubicBezTo>
                    <a:pt x="21" y="13"/>
                    <a:pt x="21" y="11"/>
                    <a:pt x="18" y="11"/>
                  </a:cubicBezTo>
                  <a:cubicBezTo>
                    <a:pt x="16" y="11"/>
                    <a:pt x="16" y="11"/>
                    <a:pt x="16" y="11"/>
                  </a:cubicBezTo>
                  <a:lnTo>
                    <a:pt x="16" y="16"/>
                  </a:lnTo>
                  <a:close/>
                </a:path>
              </a:pathLst>
            </a:custGeom>
            <a:solidFill>
              <a:srgbClr val="FBB32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62C4268-07C4-419F-A184-60B7139F40B3}" type="slidenum">
              <a:rPr lang="en-US" smtClean="0"/>
              <a:t>‹#›</a:t>
            </a:fld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70" name="Content Placeholder 2"/>
          <p:cNvSpPr>
            <a:spLocks noGrp="1"/>
          </p:cNvSpPr>
          <p:nvPr>
            <p:ph idx="1"/>
          </p:nvPr>
        </p:nvSpPr>
        <p:spPr>
          <a:xfrm>
            <a:off x="432030" y="843196"/>
            <a:ext cx="7093309" cy="4019087"/>
          </a:xfrm>
          <a:prstGeom prst="rect">
            <a:avLst/>
          </a:prstGeom>
        </p:spPr>
        <p:txBody>
          <a:bodyPr numCol="2" spcCol="34290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71" name="Date Placeholder 70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27C1CE45-12BE-44EB-87B1-C80F14748F59}" type="datetimeFigureOut">
              <a:rPr lang="en-US" smtClean="0"/>
              <a:t>9/6/2017</a:t>
            </a:fld>
            <a:endParaRPr lang="en-US"/>
          </a:p>
        </p:txBody>
      </p:sp>
      <p:sp>
        <p:nvSpPr>
          <p:cNvPr id="72" name="Footer Placeholder 71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0672449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-No Shie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/>
        </p:nvSpPr>
        <p:spPr>
          <a:xfrm>
            <a:off x="0" y="-2"/>
            <a:ext cx="9144000" cy="723486"/>
          </a:xfrm>
          <a:prstGeom prst="rect">
            <a:avLst/>
          </a:prstGeom>
          <a:solidFill>
            <a:schemeClr val="bg2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endParaRPr lang="en-US"/>
          </a:p>
        </p:txBody>
      </p:sp>
      <p:grpSp>
        <p:nvGrpSpPr>
          <p:cNvPr id="4" name="Group 3"/>
          <p:cNvGrpSpPr/>
          <p:nvPr/>
        </p:nvGrpSpPr>
        <p:grpSpPr>
          <a:xfrm rot="10800000">
            <a:off x="9304729" y="-2"/>
            <a:ext cx="552110" cy="5143502"/>
            <a:chOff x="374073" y="0"/>
            <a:chExt cx="310113" cy="6858000"/>
          </a:xfrm>
        </p:grpSpPr>
        <p:pic>
          <p:nvPicPr>
            <p:cNvPr id="5" name="Graphic 4"/>
            <p:cNvPicPr>
              <a:picLocks noChangeAspect="1"/>
            </p:cNvPicPr>
            <p:nvPr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xmlns="" r:embed="rId3"/>
                </a:ext>
              </a:extLst>
            </a:blip>
            <a:stretch>
              <a:fillRect/>
            </a:stretch>
          </p:blipFill>
          <p:spPr>
            <a:xfrm>
              <a:off x="624892" y="0"/>
              <a:ext cx="59294" cy="6858000"/>
            </a:xfrm>
            <a:prstGeom prst="rect">
              <a:avLst/>
            </a:prstGeom>
          </p:spPr>
        </p:pic>
        <p:sp>
          <p:nvSpPr>
            <p:cNvPr id="8" name="Rectangle 7"/>
            <p:cNvSpPr/>
            <p:nvPr/>
          </p:nvSpPr>
          <p:spPr>
            <a:xfrm flipH="1">
              <a:off x="374073" y="0"/>
              <a:ext cx="249956" cy="68580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sp>
        <p:nvSpPr>
          <p:cNvPr id="6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62C4268-07C4-419F-A184-60B7139F40B3}" type="slidenum">
              <a:rPr lang="en-US" smtClean="0"/>
              <a:t>‹#›</a:t>
            </a:fld>
            <a:endParaRPr lang="en-US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72" name="Content Placeholder 2"/>
          <p:cNvSpPr>
            <a:spLocks noGrp="1"/>
          </p:cNvSpPr>
          <p:nvPr>
            <p:ph idx="1"/>
          </p:nvPr>
        </p:nvSpPr>
        <p:spPr>
          <a:xfrm>
            <a:off x="432030" y="843197"/>
            <a:ext cx="7093309" cy="4019086"/>
          </a:xfrm>
          <a:prstGeom prst="rect">
            <a:avLst/>
          </a:prstGeom>
        </p:spPr>
        <p:txBody>
          <a:bodyPr numCol="1" spcCol="34290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27C1CE45-12BE-44EB-87B1-C80F14748F59}" type="datetimeFigureOut">
              <a:rPr lang="en-US" smtClean="0"/>
              <a:t>9/6/2017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1210327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62C4268-07C4-419F-A184-60B7139F40B3}" type="slidenum">
              <a:rPr lang="en-US" smtClean="0"/>
              <a:t>‹#›</a:t>
            </a:fld>
            <a:endParaRPr lang="en-US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27C1CE45-12BE-44EB-87B1-C80F14748F59}" type="datetimeFigureOut">
              <a:rPr lang="en-US" smtClean="0"/>
              <a:t>9/6/2017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7757692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 No Extras">
    <p:bg>
      <p:bgPr>
        <a:solidFill>
          <a:srgbClr val="007DC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9" name="Slide Number Placeholder 7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62C4268-07C4-419F-A184-60B7139F40B3}" type="slidenum">
              <a:rPr lang="en-US" smtClean="0"/>
              <a:t>‹#›</a:t>
            </a:fld>
            <a:endParaRPr lang="en-US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fld id="{27C1CE45-12BE-44EB-87B1-C80F14748F59}" type="datetimeFigureOut">
              <a:rPr lang="en-US" smtClean="0"/>
              <a:t>9/6/2017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1110412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62C4268-07C4-419F-A184-60B7139F40B3}" type="slidenum">
              <a:rPr lang="en-US" smtClean="0"/>
              <a:t>‹#›</a:t>
            </a:fld>
            <a:endParaRPr lang="en-US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27C1CE45-12BE-44EB-87B1-C80F14748F59}" type="datetimeFigureOut">
              <a:rPr lang="en-US" smtClean="0"/>
              <a:t>9/6/2017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430492" y="843197"/>
            <a:ext cx="7100567" cy="4019086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89989860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Full Screen Content">
    <p:bg>
      <p:bgPr>
        <a:solidFill>
          <a:srgbClr val="007DC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62C4268-07C4-419F-A184-60B7139F40B3}" type="slidenum">
              <a:rPr lang="en-US" smtClean="0"/>
              <a:t>‹#›</a:t>
            </a:fld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1" hasCustomPrompt="1"/>
          </p:nvPr>
        </p:nvSpPr>
        <p:spPr>
          <a:xfrm>
            <a:off x="-1166482" y="590550"/>
            <a:ext cx="9144000" cy="513635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Full Screen Content – Videos, Photography, etc.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27C1CE45-12BE-44EB-87B1-C80F14748F59}" type="datetimeFigureOut">
              <a:rPr lang="en-US" smtClean="0"/>
              <a:t>9/6/2017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4087289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ingle Objec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5"/>
          <p:cNvSpPr>
            <a:spLocks noGrp="1"/>
          </p:cNvSpPr>
          <p:nvPr>
            <p:ph sz="quarter" idx="13"/>
          </p:nvPr>
        </p:nvSpPr>
        <p:spPr>
          <a:xfrm>
            <a:off x="432198" y="843196"/>
            <a:ext cx="7092553" cy="3210883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32030" y="4176548"/>
            <a:ext cx="7093308" cy="612255"/>
          </a:xfrm>
          <a:prstGeom prst="rect">
            <a:avLst/>
          </a:prstGeom>
          <a:ln w="50800" cap="sq">
            <a:solidFill>
              <a:schemeClr val="tx1"/>
            </a:solidFill>
            <a:miter lim="800000"/>
          </a:ln>
        </p:spPr>
        <p:txBody>
          <a:bodyPr anchor="ctr">
            <a:normAutofit/>
          </a:bodyPr>
          <a:lstStyle>
            <a:lvl1pPr marL="0" indent="0" algn="ctr">
              <a:buNone/>
              <a:defRPr sz="1500" b="0"/>
            </a:lvl1pPr>
            <a:lvl2pPr marL="342900" indent="0">
              <a:buNone/>
              <a:defRPr sz="1100"/>
            </a:lvl2pPr>
            <a:lvl3pPr marL="685800" indent="0">
              <a:buNone/>
              <a:defRPr sz="900"/>
            </a:lvl3pPr>
            <a:lvl4pPr marL="1028700" indent="0">
              <a:buNone/>
              <a:defRPr sz="800"/>
            </a:lvl4pPr>
            <a:lvl5pPr marL="1371600" indent="0">
              <a:buNone/>
              <a:defRPr sz="800"/>
            </a:lvl5pPr>
            <a:lvl6pPr marL="1714500" indent="0">
              <a:buNone/>
              <a:defRPr sz="800"/>
            </a:lvl6pPr>
            <a:lvl7pPr marL="2057400" indent="0">
              <a:buNone/>
              <a:defRPr sz="800"/>
            </a:lvl7pPr>
            <a:lvl8pPr marL="2400300" indent="0">
              <a:buNone/>
              <a:defRPr sz="800"/>
            </a:lvl8pPr>
            <a:lvl9pPr marL="2743200" indent="0">
              <a:buNone/>
              <a:defRPr sz="8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1" name="Date Placeholder 10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7C1CE45-12BE-44EB-87B1-C80F14748F59}" type="datetimeFigureOut">
              <a:rPr lang="en-US" smtClean="0"/>
              <a:t>9/6/2017</a:t>
            </a:fld>
            <a:endParaRPr lang="en-US"/>
          </a:p>
        </p:txBody>
      </p:sp>
      <p:sp>
        <p:nvSpPr>
          <p:cNvPr id="12" name="Footer Placeholder 1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62C4268-07C4-419F-A184-60B7139F40B3}" type="slidenum">
              <a:rPr lang="en-US" smtClean="0"/>
              <a:t>‹#›</a:t>
            </a:fld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492641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6"/>
          <p:cNvSpPr>
            <a:spLocks noGrp="1"/>
          </p:cNvSpPr>
          <p:nvPr>
            <p:ph sz="quarter" idx="12"/>
          </p:nvPr>
        </p:nvSpPr>
        <p:spPr>
          <a:xfrm>
            <a:off x="3814762" y="843196"/>
            <a:ext cx="3710576" cy="4019087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32030" y="843210"/>
            <a:ext cx="3006950" cy="401899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100"/>
            </a:lvl2pPr>
            <a:lvl3pPr marL="685800" indent="0">
              <a:buNone/>
              <a:defRPr sz="900"/>
            </a:lvl3pPr>
            <a:lvl4pPr marL="1028700" indent="0">
              <a:buNone/>
              <a:defRPr sz="800"/>
            </a:lvl4pPr>
            <a:lvl5pPr marL="1371600" indent="0">
              <a:buNone/>
              <a:defRPr sz="800"/>
            </a:lvl5pPr>
            <a:lvl6pPr marL="1714500" indent="0">
              <a:buNone/>
              <a:defRPr sz="800"/>
            </a:lvl6pPr>
            <a:lvl7pPr marL="2057400" indent="0">
              <a:buNone/>
              <a:defRPr sz="800"/>
            </a:lvl7pPr>
            <a:lvl8pPr marL="2400300" indent="0">
              <a:buNone/>
              <a:defRPr sz="800"/>
            </a:lvl8pPr>
            <a:lvl9pPr marL="2743200" indent="0">
              <a:buNone/>
              <a:defRPr sz="8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fld id="{27C1CE45-12BE-44EB-87B1-C80F14748F59}" type="datetimeFigureOut">
              <a:rPr lang="en-US" smtClean="0"/>
              <a:t>9/6/2017</a:t>
            </a:fld>
            <a:endParaRPr lang="en-US"/>
          </a:p>
        </p:txBody>
      </p:sp>
      <p:sp>
        <p:nvSpPr>
          <p:cNvPr id="10" name="Footer Placeholder 9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262C4268-07C4-419F-A184-60B7139F40B3}" type="slidenum">
              <a:rPr lang="en-US" smtClean="0"/>
              <a:t>‹#›</a:t>
            </a:fld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2374691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3814762" y="843196"/>
            <a:ext cx="3699326" cy="4019086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r>
              <a:rPr lang="en-US" smtClean="0"/>
              <a:t>Click icon to add picture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32030" y="843196"/>
            <a:ext cx="3006950" cy="401908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100"/>
            </a:lvl2pPr>
            <a:lvl3pPr marL="685800" indent="0">
              <a:buNone/>
              <a:defRPr sz="900"/>
            </a:lvl3pPr>
            <a:lvl4pPr marL="1028700" indent="0">
              <a:buNone/>
              <a:defRPr sz="800"/>
            </a:lvl4pPr>
            <a:lvl5pPr marL="1371600" indent="0">
              <a:buNone/>
              <a:defRPr sz="800"/>
            </a:lvl5pPr>
            <a:lvl6pPr marL="1714500" indent="0">
              <a:buNone/>
              <a:defRPr sz="800"/>
            </a:lvl6pPr>
            <a:lvl7pPr marL="2057400" indent="0">
              <a:buNone/>
              <a:defRPr sz="800"/>
            </a:lvl7pPr>
            <a:lvl8pPr marL="2400300" indent="0">
              <a:buNone/>
              <a:defRPr sz="800"/>
            </a:lvl8pPr>
            <a:lvl9pPr marL="2743200" indent="0">
              <a:buNone/>
              <a:defRPr sz="8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62C4268-07C4-419F-A184-60B7139F40B3}" type="slidenum">
              <a:rPr lang="en-US" smtClean="0"/>
              <a:t>‹#›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27C1CE45-12BE-44EB-87B1-C80F14748F59}" type="datetimeFigureOut">
              <a:rPr lang="en-US" smtClean="0"/>
              <a:t>9/6/2017</a:t>
            </a:fld>
            <a:endParaRPr lang="en-US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17134184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30493" y="843196"/>
            <a:ext cx="7094846" cy="4019087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7C1CE45-12BE-44EB-87B1-C80F14748F59}" type="datetimeFigureOut">
              <a:rPr lang="en-US" smtClean="0"/>
              <a:t>9/6/2017</a:t>
            </a:fld>
            <a:endParaRPr lang="en-US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62C4268-07C4-419F-A184-60B7139F40B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44929898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-Two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Placeholder 7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62C4268-07C4-419F-A184-60B7139F40B3}" type="slidenum">
              <a:rPr lang="en-US" smtClean="0"/>
              <a:t>‹#›</a:t>
            </a:fld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27C1CE45-12BE-44EB-87B1-C80F14748F59}" type="datetimeFigureOut">
              <a:rPr lang="en-US" smtClean="0"/>
              <a:t>9/6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2" name="Picture Placeholder 11"/>
          <p:cNvSpPr>
            <a:spLocks noGrp="1"/>
          </p:cNvSpPr>
          <p:nvPr>
            <p:ph type="pic" sz="quarter" idx="18"/>
          </p:nvPr>
        </p:nvSpPr>
        <p:spPr>
          <a:xfrm>
            <a:off x="431007" y="818739"/>
            <a:ext cx="3481387" cy="3897640"/>
          </a:xfrm>
        </p:spPr>
        <p:txBody>
          <a:bodyPr/>
          <a:lstStyle/>
          <a:p>
            <a:r>
              <a:rPr lang="en-US" smtClean="0"/>
              <a:t>Click icon to add picture</a:t>
            </a:r>
            <a:endParaRPr lang="en-US"/>
          </a:p>
        </p:txBody>
      </p:sp>
      <p:sp>
        <p:nvSpPr>
          <p:cNvPr id="13" name="Picture Placeholder 11"/>
          <p:cNvSpPr>
            <a:spLocks noGrp="1"/>
          </p:cNvSpPr>
          <p:nvPr>
            <p:ph type="pic" sz="quarter" idx="19"/>
          </p:nvPr>
        </p:nvSpPr>
        <p:spPr>
          <a:xfrm>
            <a:off x="4041307" y="818739"/>
            <a:ext cx="3481387" cy="3897640"/>
          </a:xfrm>
        </p:spPr>
        <p:txBody>
          <a:bodyPr/>
          <a:lstStyle/>
          <a:p>
            <a:r>
              <a:rPr lang="en-US" smtClean="0"/>
              <a:t>Click icon to add pictur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00806869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-Thre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Placeholder 7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62C4268-07C4-419F-A184-60B7139F40B3}" type="slidenum">
              <a:rPr lang="en-US" smtClean="0"/>
              <a:t>‹#›</a:t>
            </a:fld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fld id="{27C1CE45-12BE-44EB-87B1-C80F14748F59}" type="datetimeFigureOut">
              <a:rPr lang="en-US" smtClean="0"/>
              <a:t>9/6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5"/>
          </p:nvPr>
        </p:nvSpPr>
        <p:spPr>
          <a:xfrm>
            <a:off x="430492" y="843197"/>
            <a:ext cx="2313899" cy="3752616"/>
          </a:xfrm>
        </p:spPr>
        <p:txBody>
          <a:bodyPr/>
          <a:lstStyle/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12" name="Picture Placeholder 11"/>
          <p:cNvSpPr>
            <a:spLocks noGrp="1"/>
          </p:cNvSpPr>
          <p:nvPr>
            <p:ph type="pic" sz="quarter" idx="16"/>
          </p:nvPr>
        </p:nvSpPr>
        <p:spPr>
          <a:xfrm>
            <a:off x="2867025" y="842963"/>
            <a:ext cx="2268141" cy="3752850"/>
          </a:xfrm>
        </p:spPr>
        <p:txBody>
          <a:bodyPr/>
          <a:lstStyle/>
          <a:p>
            <a:r>
              <a:rPr lang="en-US" smtClean="0"/>
              <a:t>Click icon to add picture</a:t>
            </a:r>
            <a:endParaRPr lang="en-US"/>
          </a:p>
        </p:txBody>
      </p:sp>
      <p:sp>
        <p:nvSpPr>
          <p:cNvPr id="14" name="Picture Placeholder 13"/>
          <p:cNvSpPr>
            <a:spLocks noGrp="1"/>
          </p:cNvSpPr>
          <p:nvPr>
            <p:ph type="pic" sz="quarter" idx="17"/>
          </p:nvPr>
        </p:nvSpPr>
        <p:spPr>
          <a:xfrm>
            <a:off x="5257800" y="842963"/>
            <a:ext cx="2266950" cy="3752850"/>
          </a:xfrm>
        </p:spPr>
        <p:txBody>
          <a:bodyPr/>
          <a:lstStyle/>
          <a:p>
            <a:r>
              <a:rPr lang="en-US" smtClean="0"/>
              <a:t>Click icon to add pictur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34821851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-Four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Placeholder 7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62C4268-07C4-419F-A184-60B7139F40B3}" type="slidenum">
              <a:rPr lang="en-US" smtClean="0"/>
              <a:t>‹#›</a:t>
            </a:fld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27C1CE45-12BE-44EB-87B1-C80F14748F59}" type="datetimeFigureOut">
              <a:rPr lang="en-US" smtClean="0"/>
              <a:t>9/6/2017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20"/>
          </p:nvPr>
        </p:nvSpPr>
        <p:spPr>
          <a:xfrm>
            <a:off x="430493" y="843196"/>
            <a:ext cx="1662112" cy="3872870"/>
          </a:xfrm>
        </p:spPr>
        <p:txBody>
          <a:bodyPr/>
          <a:lstStyle/>
          <a:p>
            <a:r>
              <a:rPr lang="en-US" smtClean="0"/>
              <a:t>Click icon to add picture</a:t>
            </a:r>
            <a:endParaRPr lang="en-US"/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21"/>
          </p:nvPr>
        </p:nvSpPr>
        <p:spPr>
          <a:xfrm>
            <a:off x="2243250" y="843196"/>
            <a:ext cx="1662000" cy="3872870"/>
          </a:xfrm>
        </p:spPr>
        <p:txBody>
          <a:bodyPr/>
          <a:lstStyle/>
          <a:p>
            <a:r>
              <a:rPr lang="en-US" smtClean="0"/>
              <a:t>Click icon to add picture</a:t>
            </a:r>
            <a:endParaRPr lang="en-US"/>
          </a:p>
        </p:txBody>
      </p:sp>
      <p:sp>
        <p:nvSpPr>
          <p:cNvPr id="19" name="Picture Placeholder 10"/>
          <p:cNvSpPr>
            <a:spLocks noGrp="1"/>
          </p:cNvSpPr>
          <p:nvPr>
            <p:ph type="pic" sz="quarter" idx="22"/>
          </p:nvPr>
        </p:nvSpPr>
        <p:spPr>
          <a:xfrm>
            <a:off x="4056189" y="842962"/>
            <a:ext cx="1662113" cy="3873104"/>
          </a:xfrm>
        </p:spPr>
        <p:txBody>
          <a:bodyPr/>
          <a:lstStyle/>
          <a:p>
            <a:r>
              <a:rPr lang="en-US" smtClean="0"/>
              <a:t>Click icon to add picture</a:t>
            </a:r>
            <a:endParaRPr lang="en-US"/>
          </a:p>
        </p:txBody>
      </p:sp>
      <p:sp>
        <p:nvSpPr>
          <p:cNvPr id="20" name="Picture Placeholder 12"/>
          <p:cNvSpPr>
            <a:spLocks noGrp="1"/>
          </p:cNvSpPr>
          <p:nvPr>
            <p:ph type="pic" sz="quarter" idx="23"/>
          </p:nvPr>
        </p:nvSpPr>
        <p:spPr>
          <a:xfrm>
            <a:off x="5868591" y="842962"/>
            <a:ext cx="1656159" cy="3873104"/>
          </a:xfrm>
        </p:spPr>
        <p:txBody>
          <a:bodyPr/>
          <a:lstStyle/>
          <a:p>
            <a:r>
              <a:rPr lang="en-US" smtClean="0"/>
              <a:t>Click icon to add pictur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205208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-Four Picture Gr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Placeholder 7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62C4268-07C4-419F-A184-60B7139F40B3}" type="slidenum">
              <a:rPr lang="en-US" smtClean="0"/>
              <a:t>‹#›</a:t>
            </a:fld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fld id="{27C1CE45-12BE-44EB-87B1-C80F14748F59}" type="datetimeFigureOut">
              <a:rPr lang="en-US" smtClean="0"/>
              <a:t>9/6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1" name="Picture Placeholder 10"/>
          <p:cNvSpPr>
            <a:spLocks noGrp="1"/>
          </p:cNvSpPr>
          <p:nvPr>
            <p:ph type="pic" sz="quarter" idx="19"/>
          </p:nvPr>
        </p:nvSpPr>
        <p:spPr>
          <a:xfrm>
            <a:off x="430492" y="843196"/>
            <a:ext cx="3481388" cy="1864519"/>
          </a:xfrm>
        </p:spPr>
        <p:txBody>
          <a:bodyPr/>
          <a:lstStyle/>
          <a:p>
            <a:r>
              <a:rPr lang="en-US" smtClean="0"/>
              <a:t>Click icon to add picture</a:t>
            </a:r>
            <a:endParaRPr lang="en-US"/>
          </a:p>
        </p:txBody>
      </p:sp>
      <p:sp>
        <p:nvSpPr>
          <p:cNvPr id="16" name="Picture Placeholder 15"/>
          <p:cNvSpPr>
            <a:spLocks noGrp="1"/>
          </p:cNvSpPr>
          <p:nvPr>
            <p:ph type="pic" sz="quarter" idx="22"/>
          </p:nvPr>
        </p:nvSpPr>
        <p:spPr>
          <a:xfrm>
            <a:off x="430492" y="2827735"/>
            <a:ext cx="3481388" cy="1864519"/>
          </a:xfrm>
        </p:spPr>
        <p:txBody>
          <a:bodyPr/>
          <a:lstStyle/>
          <a:p>
            <a:r>
              <a:rPr lang="en-US" smtClean="0"/>
              <a:t>Click icon to add picture</a:t>
            </a:r>
            <a:endParaRPr lang="en-US"/>
          </a:p>
        </p:txBody>
      </p:sp>
      <p:sp>
        <p:nvSpPr>
          <p:cNvPr id="19" name="Picture Placeholder 18"/>
          <p:cNvSpPr>
            <a:spLocks noGrp="1"/>
          </p:cNvSpPr>
          <p:nvPr>
            <p:ph type="pic" sz="quarter" idx="23"/>
          </p:nvPr>
        </p:nvSpPr>
        <p:spPr>
          <a:xfrm>
            <a:off x="4043950" y="842963"/>
            <a:ext cx="3481388" cy="1864519"/>
          </a:xfrm>
        </p:spPr>
        <p:txBody>
          <a:bodyPr/>
          <a:lstStyle/>
          <a:p>
            <a:r>
              <a:rPr lang="en-US" smtClean="0"/>
              <a:t>Click icon to add picture</a:t>
            </a:r>
            <a:endParaRPr lang="en-US"/>
          </a:p>
        </p:txBody>
      </p:sp>
      <p:sp>
        <p:nvSpPr>
          <p:cNvPr id="21" name="Picture Placeholder 20"/>
          <p:cNvSpPr>
            <a:spLocks noGrp="1"/>
          </p:cNvSpPr>
          <p:nvPr>
            <p:ph type="pic" sz="quarter" idx="24"/>
          </p:nvPr>
        </p:nvSpPr>
        <p:spPr>
          <a:xfrm>
            <a:off x="4043951" y="2826960"/>
            <a:ext cx="3486752" cy="1865294"/>
          </a:xfrm>
        </p:spPr>
        <p:txBody>
          <a:bodyPr/>
          <a:lstStyle/>
          <a:p>
            <a:r>
              <a:rPr lang="en-US" smtClean="0"/>
              <a:t>Click icon to add pictur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17604504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62C4268-07C4-419F-A184-60B7139F40B3}" type="slidenum">
              <a:rPr lang="en-US" smtClean="0"/>
              <a:t>‹#›</a:t>
            </a:fld>
            <a:endParaRPr lang="en-US"/>
          </a:p>
        </p:txBody>
      </p:sp>
      <p:sp>
        <p:nvSpPr>
          <p:cNvPr id="6" name="Rectangle 5"/>
          <p:cNvSpPr/>
          <p:nvPr/>
        </p:nvSpPr>
        <p:spPr>
          <a:xfrm>
            <a:off x="2048827" y="788671"/>
            <a:ext cx="4913999" cy="3433812"/>
          </a:xfrm>
          <a:prstGeom prst="rect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r>
              <a:rPr lang="en-US" sz="1800" b="1" dirty="0">
                <a:latin typeface="+mj-lt"/>
              </a:rPr>
              <a:t>DELETE ALL LAYOUTS ADDED AFTER THIS SLIDE.</a:t>
            </a:r>
            <a:br>
              <a:rPr lang="en-US" sz="1800" b="1" dirty="0">
                <a:latin typeface="+mj-lt"/>
              </a:rPr>
            </a:br>
            <a:r>
              <a:rPr lang="en-US" sz="1800" b="1" dirty="0">
                <a:latin typeface="+mj-lt"/>
              </a:rPr>
              <a:t>THESE WOULD BE LAYOUTS FROM OTHER DECKS.</a:t>
            </a:r>
          </a:p>
          <a:p>
            <a:pPr algn="ctr"/>
            <a:endParaRPr lang="en-US" sz="1800" b="1" dirty="0">
              <a:latin typeface="+mj-lt"/>
            </a:endParaRPr>
          </a:p>
          <a:p>
            <a:pPr algn="ctr"/>
            <a:r>
              <a:rPr lang="en-US" sz="1800" b="1" dirty="0">
                <a:latin typeface="+mj-lt"/>
              </a:rPr>
              <a:t>IF LAYOUT IS IN USE, </a:t>
            </a:r>
            <a:br>
              <a:rPr lang="en-US" sz="1800" b="1" dirty="0">
                <a:latin typeface="+mj-lt"/>
              </a:rPr>
            </a:br>
            <a:r>
              <a:rPr lang="en-US" sz="1800" b="1" dirty="0">
                <a:latin typeface="+mj-lt"/>
              </a:rPr>
              <a:t>CONVERT TO ANY MATCHING LAYOUT</a:t>
            </a:r>
          </a:p>
          <a:p>
            <a:pPr algn="ctr"/>
            <a:r>
              <a:rPr lang="en-US" sz="1800" b="1" dirty="0">
                <a:latin typeface="+mj-lt"/>
              </a:rPr>
              <a:t>BEFORE THIS SLIDE, THEN DELETE.</a:t>
            </a:r>
          </a:p>
          <a:p>
            <a:pPr algn="ctr"/>
            <a:endParaRPr lang="en-US" sz="1800" b="1" dirty="0">
              <a:latin typeface="+mj-lt"/>
            </a:endParaRPr>
          </a:p>
          <a:p>
            <a:pPr algn="ctr"/>
            <a:r>
              <a:rPr lang="en-US" sz="1800" b="1" dirty="0">
                <a:latin typeface="+mj-lt"/>
              </a:rPr>
              <a:t>ONLY LEAVE LAYOUTS AFTER THIS SLIDE IF THEY ARE ABSOLUTELY NECESSARY.</a:t>
            </a:r>
          </a:p>
        </p:txBody>
      </p:sp>
      <p:sp>
        <p:nvSpPr>
          <p:cNvPr id="4" name="Rectangle 3"/>
          <p:cNvSpPr/>
          <p:nvPr/>
        </p:nvSpPr>
        <p:spPr>
          <a:xfrm>
            <a:off x="2048827" y="788671"/>
            <a:ext cx="4913999" cy="3433812"/>
          </a:xfrm>
          <a:prstGeom prst="rect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r>
              <a:rPr lang="en-US" sz="1800" b="1" dirty="0">
                <a:latin typeface="+mj-lt"/>
              </a:rPr>
              <a:t>DELETE ALL LAYOUTS ADDED AFTER THIS SLIDE.</a:t>
            </a:r>
            <a:br>
              <a:rPr lang="en-US" sz="1800" b="1" dirty="0">
                <a:latin typeface="+mj-lt"/>
              </a:rPr>
            </a:br>
            <a:r>
              <a:rPr lang="en-US" sz="1800" b="1" dirty="0">
                <a:latin typeface="+mj-lt"/>
              </a:rPr>
              <a:t>THESE WOULD BE LAYOUTS FROM OTHER DECKS.</a:t>
            </a:r>
          </a:p>
          <a:p>
            <a:pPr algn="ctr"/>
            <a:endParaRPr lang="en-US" sz="1800" b="1" dirty="0">
              <a:latin typeface="+mj-lt"/>
            </a:endParaRPr>
          </a:p>
          <a:p>
            <a:pPr algn="ctr"/>
            <a:r>
              <a:rPr lang="en-US" sz="1800" b="1" dirty="0">
                <a:latin typeface="+mj-lt"/>
              </a:rPr>
              <a:t>IF LAYOUT IS IN USE, </a:t>
            </a:r>
            <a:br>
              <a:rPr lang="en-US" sz="1800" b="1" dirty="0">
                <a:latin typeface="+mj-lt"/>
              </a:rPr>
            </a:br>
            <a:r>
              <a:rPr lang="en-US" sz="1800" b="1" dirty="0">
                <a:latin typeface="+mj-lt"/>
              </a:rPr>
              <a:t>CONVERT TO ANY MATCHING LAYOUT</a:t>
            </a:r>
          </a:p>
          <a:p>
            <a:pPr algn="ctr"/>
            <a:r>
              <a:rPr lang="en-US" sz="1800" b="1" dirty="0">
                <a:latin typeface="+mj-lt"/>
              </a:rPr>
              <a:t>BEFORE THIS SLIDE, THEN DELETE.</a:t>
            </a:r>
          </a:p>
          <a:p>
            <a:pPr algn="ctr"/>
            <a:endParaRPr lang="en-US" sz="1800" b="1" dirty="0">
              <a:latin typeface="+mj-lt"/>
            </a:endParaRPr>
          </a:p>
          <a:p>
            <a:pPr algn="ctr"/>
            <a:r>
              <a:rPr lang="en-US" sz="1800" b="1" dirty="0">
                <a:latin typeface="+mj-lt"/>
              </a:rPr>
              <a:t>ONLY LEAVE LAYOUTS AFTER THIS SLIDE IF THEY ARE ABSOLUTELY NECESSARY.</a:t>
            </a:r>
          </a:p>
        </p:txBody>
      </p:sp>
      <p:sp>
        <p:nvSpPr>
          <p:cNvPr id="5" name="Rectangle 4"/>
          <p:cNvSpPr/>
          <p:nvPr/>
        </p:nvSpPr>
        <p:spPr>
          <a:xfrm>
            <a:off x="2048827" y="788671"/>
            <a:ext cx="4913999" cy="3433812"/>
          </a:xfrm>
          <a:prstGeom prst="rect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r>
              <a:rPr lang="en-US" sz="1800" b="1" dirty="0">
                <a:latin typeface="+mj-lt"/>
              </a:rPr>
              <a:t>DELETE ALL LAYOUTS ADDED AFTER THIS SLIDE.</a:t>
            </a:r>
            <a:br>
              <a:rPr lang="en-US" sz="1800" b="1" dirty="0">
                <a:latin typeface="+mj-lt"/>
              </a:rPr>
            </a:br>
            <a:r>
              <a:rPr lang="en-US" sz="1800" b="1" dirty="0">
                <a:latin typeface="+mj-lt"/>
              </a:rPr>
              <a:t>THESE WOULD BE LAYOUTS FROM OTHER DECKS.</a:t>
            </a:r>
          </a:p>
          <a:p>
            <a:pPr algn="ctr"/>
            <a:endParaRPr lang="en-US" sz="1800" b="1" dirty="0">
              <a:latin typeface="+mj-lt"/>
            </a:endParaRPr>
          </a:p>
          <a:p>
            <a:pPr algn="ctr"/>
            <a:r>
              <a:rPr lang="en-US" sz="1800" b="1" dirty="0">
                <a:latin typeface="+mj-lt"/>
              </a:rPr>
              <a:t>IF LAYOUT IS IN USE, </a:t>
            </a:r>
            <a:br>
              <a:rPr lang="en-US" sz="1800" b="1" dirty="0">
                <a:latin typeface="+mj-lt"/>
              </a:rPr>
            </a:br>
            <a:r>
              <a:rPr lang="en-US" sz="1800" b="1" dirty="0">
                <a:latin typeface="+mj-lt"/>
              </a:rPr>
              <a:t>CONVERT TO ANY MATCHING LAYOUT</a:t>
            </a:r>
          </a:p>
          <a:p>
            <a:pPr algn="ctr"/>
            <a:r>
              <a:rPr lang="en-US" sz="1800" b="1" dirty="0">
                <a:latin typeface="+mj-lt"/>
              </a:rPr>
              <a:t>BEFORE THIS SLIDE, THEN DELETE.</a:t>
            </a:r>
          </a:p>
          <a:p>
            <a:pPr algn="ctr"/>
            <a:endParaRPr lang="en-US" sz="1800" b="1" dirty="0">
              <a:latin typeface="+mj-lt"/>
            </a:endParaRPr>
          </a:p>
          <a:p>
            <a:pPr algn="ctr"/>
            <a:r>
              <a:rPr lang="en-US" sz="1800" b="1" dirty="0">
                <a:latin typeface="+mj-lt"/>
              </a:rPr>
              <a:t>ONLY LEAVE LAYOUTS AFTER THIS SLIDE IF THEY ARE ABSOLUTELY NECESSARY.</a:t>
            </a:r>
          </a:p>
        </p:txBody>
      </p:sp>
    </p:spTree>
    <p:extLst>
      <p:ext uri="{BB962C8B-B14F-4D97-AF65-F5344CB8AC3E}">
        <p14:creationId xmlns:p14="http://schemas.microsoft.com/office/powerpoint/2010/main" val="381926841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-Title and Content Two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32030" y="843196"/>
            <a:ext cx="7093309" cy="4019087"/>
          </a:xfrm>
          <a:prstGeom prst="rect">
            <a:avLst/>
          </a:prstGeom>
        </p:spPr>
        <p:txBody>
          <a:bodyPr numCol="2" spcCol="342900"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62C4268-07C4-419F-A184-60B7139F40B3}" type="slidenum">
              <a:rPr lang="en-US" smtClean="0"/>
              <a:t>‹#›</a:t>
            </a:fld>
            <a:endParaRPr lang="en-US"/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27C1CE45-12BE-44EB-87B1-C80F14748F59}" type="datetimeFigureOut">
              <a:rPr lang="en-US" smtClean="0"/>
              <a:t>9/6/2017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0958292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-Title and Content with Side Call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32030" y="843196"/>
            <a:ext cx="4735619" cy="4019087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62C4268-07C4-419F-A184-60B7139F40B3}" type="slidenum">
              <a:rPr lang="en-US" smtClean="0"/>
              <a:t>‹#›</a:t>
            </a:fld>
            <a:endParaRPr lang="en-US"/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6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5297293" y="843196"/>
            <a:ext cx="2227520" cy="809545"/>
          </a:xfrm>
          <a:prstGeom prst="rect">
            <a:avLst/>
          </a:prstGeom>
          <a:ln w="50800" cap="sq">
            <a:solidFill>
              <a:schemeClr val="tx1"/>
            </a:solidFill>
            <a:miter lim="800000"/>
          </a:ln>
        </p:spPr>
        <p:txBody>
          <a:bodyPr lIns="205740" tIns="205740" rIns="205740" bIns="205740" anchor="ctr">
            <a:noAutofit/>
          </a:bodyPr>
          <a:lstStyle>
            <a:lvl1pPr algn="ctr">
              <a:spcAft>
                <a:spcPts val="450"/>
              </a:spcAft>
              <a:defRPr sz="1100"/>
            </a:lvl1pPr>
            <a:lvl2pPr algn="ctr">
              <a:spcAft>
                <a:spcPts val="450"/>
              </a:spcAft>
              <a:defRPr sz="1100"/>
            </a:lvl2pPr>
            <a:lvl3pPr marL="130969" indent="-130969" algn="ctr">
              <a:spcAft>
                <a:spcPts val="450"/>
              </a:spcAft>
              <a:buSzPct val="80000"/>
              <a:buFont typeface="Wingdings" panose="05000000000000000000" pitchFamily="2" charset="2"/>
              <a:buChar char="§"/>
              <a:defRPr sz="1100" b="0" i="1"/>
            </a:lvl3pPr>
            <a:lvl4pPr marL="342900" indent="-132160" algn="ctr">
              <a:buSzPct val="80000"/>
              <a:buFont typeface="Wingdings" panose="05000000000000000000" pitchFamily="2" charset="2"/>
              <a:buChar char="§"/>
              <a:defRPr sz="1500"/>
            </a:lvl4pPr>
            <a:lvl5pPr marL="597694" indent="-132160" algn="ctr">
              <a:buSzPct val="80000"/>
              <a:buFont typeface="Wingdings" panose="05000000000000000000" pitchFamily="2" charset="2"/>
              <a:buChar char="§"/>
              <a:defRPr sz="1400"/>
            </a:lvl5pPr>
          </a:lstStyle>
          <a:p>
            <a:pPr lvl="0"/>
            <a:r>
              <a:rPr lang="en-US" dirty="0"/>
              <a:t>Callout Box</a:t>
            </a:r>
          </a:p>
          <a:p>
            <a:pPr lvl="1"/>
            <a:r>
              <a:rPr lang="en-US" dirty="0"/>
              <a:t>Heading</a:t>
            </a:r>
          </a:p>
          <a:p>
            <a:pPr lvl="2"/>
            <a:r>
              <a:rPr lang="en-US" dirty="0"/>
              <a:t>Bullet</a:t>
            </a:r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16" hasCustomPrompt="1"/>
          </p:nvPr>
        </p:nvSpPr>
        <p:spPr>
          <a:xfrm>
            <a:off x="5297293" y="1749148"/>
            <a:ext cx="2227520" cy="943193"/>
          </a:xfrm>
          <a:prstGeom prst="rect">
            <a:avLst/>
          </a:prstGeom>
          <a:ln w="50800" cap="sq">
            <a:solidFill>
              <a:schemeClr val="tx1"/>
            </a:solidFill>
            <a:miter lim="800000"/>
          </a:ln>
        </p:spPr>
        <p:txBody>
          <a:bodyPr lIns="960120" tIns="205740" rIns="205740" bIns="205740" anchor="ctr">
            <a:noAutofit/>
          </a:bodyPr>
          <a:lstStyle>
            <a:lvl1pPr algn="l">
              <a:spcAft>
                <a:spcPts val="450"/>
              </a:spcAft>
              <a:defRPr sz="800"/>
            </a:lvl1pPr>
            <a:lvl2pPr algn="l">
              <a:spcAft>
                <a:spcPts val="450"/>
              </a:spcAft>
              <a:defRPr sz="800"/>
            </a:lvl2pPr>
            <a:lvl3pPr marL="130969" indent="-130969" algn="l">
              <a:spcAft>
                <a:spcPts val="450"/>
              </a:spcAft>
              <a:buSzPct val="80000"/>
              <a:buFont typeface="Wingdings" panose="05000000000000000000" pitchFamily="2" charset="2"/>
              <a:buChar char="§"/>
              <a:defRPr sz="800" b="0" i="0"/>
            </a:lvl3pPr>
            <a:lvl4pPr marL="342900" indent="-132160" algn="l">
              <a:spcAft>
                <a:spcPts val="450"/>
              </a:spcAft>
              <a:buSzPct val="80000"/>
              <a:buFont typeface="Wingdings" panose="05000000000000000000" pitchFamily="2" charset="2"/>
              <a:buChar char="§"/>
              <a:defRPr sz="800" i="0"/>
            </a:lvl4pPr>
            <a:lvl5pPr marL="597694" indent="-132160" algn="l">
              <a:spcAft>
                <a:spcPts val="450"/>
              </a:spcAft>
              <a:buSzPct val="80000"/>
              <a:buFont typeface="Wingdings" panose="05000000000000000000" pitchFamily="2" charset="2"/>
              <a:buChar char="§"/>
              <a:defRPr sz="800" i="1"/>
            </a:lvl5pPr>
          </a:lstStyle>
          <a:p>
            <a:pPr lvl="0"/>
            <a:r>
              <a:rPr lang="en-US" dirty="0"/>
              <a:t>Icon Ready Callout Box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fld id="{27C1CE45-12BE-44EB-87B1-C80F14748F59}" type="datetimeFigureOut">
              <a:rPr lang="en-US" smtClean="0"/>
              <a:t>9/6/2017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0162293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Header">
    <p:bg>
      <p:bgPr>
        <a:solidFill>
          <a:srgbClr val="007DC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3" name="Group 72"/>
          <p:cNvGrpSpPr>
            <a:grpSpLocks noChangeAspect="1"/>
          </p:cNvGrpSpPr>
          <p:nvPr/>
        </p:nvGrpSpPr>
        <p:grpSpPr bwMode="auto">
          <a:xfrm>
            <a:off x="5311710" y="1377431"/>
            <a:ext cx="2884640" cy="2719936"/>
            <a:chOff x="117" y="3646"/>
            <a:chExt cx="613" cy="578"/>
          </a:xfrm>
        </p:grpSpPr>
        <p:sp>
          <p:nvSpPr>
            <p:cNvPr id="74" name="AutoShape 3"/>
            <p:cNvSpPr>
              <a:spLocks noChangeAspect="1" noChangeArrowheads="1" noTextEdit="1"/>
            </p:cNvSpPr>
            <p:nvPr/>
          </p:nvSpPr>
          <p:spPr bwMode="auto">
            <a:xfrm>
              <a:off x="117" y="3646"/>
              <a:ext cx="613" cy="5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5" name="Freeform 5"/>
            <p:cNvSpPr>
              <a:spLocks/>
            </p:cNvSpPr>
            <p:nvPr/>
          </p:nvSpPr>
          <p:spPr bwMode="auto">
            <a:xfrm>
              <a:off x="125" y="3654"/>
              <a:ext cx="597" cy="562"/>
            </a:xfrm>
            <a:custGeom>
              <a:avLst/>
              <a:gdLst>
                <a:gd name="T0" fmla="*/ 1572 w 3628"/>
                <a:gd name="T1" fmla="*/ 3344 h 3371"/>
                <a:gd name="T2" fmla="*/ 1411 w 3628"/>
                <a:gd name="T3" fmla="*/ 3284 h 3371"/>
                <a:gd name="T4" fmla="*/ 1402 w 3628"/>
                <a:gd name="T5" fmla="*/ 3281 h 3371"/>
                <a:gd name="T6" fmla="*/ 904 w 3628"/>
                <a:gd name="T7" fmla="*/ 3064 h 3371"/>
                <a:gd name="T8" fmla="*/ 500 w 3628"/>
                <a:gd name="T9" fmla="*/ 2789 h 3371"/>
                <a:gd name="T10" fmla="*/ 347 w 3628"/>
                <a:gd name="T11" fmla="*/ 2452 h 3371"/>
                <a:gd name="T12" fmla="*/ 323 w 3628"/>
                <a:gd name="T13" fmla="*/ 2223 h 3371"/>
                <a:gd name="T14" fmla="*/ 313 w 3628"/>
                <a:gd name="T15" fmla="*/ 2061 h 3371"/>
                <a:gd name="T16" fmla="*/ 0 w 3628"/>
                <a:gd name="T17" fmla="*/ 1872 h 3371"/>
                <a:gd name="T18" fmla="*/ 186 w 3628"/>
                <a:gd name="T19" fmla="*/ 1056 h 3371"/>
                <a:gd name="T20" fmla="*/ 241 w 3628"/>
                <a:gd name="T21" fmla="*/ 1046 h 3371"/>
                <a:gd name="T22" fmla="*/ 234 w 3628"/>
                <a:gd name="T23" fmla="*/ 940 h 3371"/>
                <a:gd name="T24" fmla="*/ 218 w 3628"/>
                <a:gd name="T25" fmla="*/ 716 h 3371"/>
                <a:gd name="T26" fmla="*/ 214 w 3628"/>
                <a:gd name="T27" fmla="*/ 670 h 3371"/>
                <a:gd name="T28" fmla="*/ 213 w 3628"/>
                <a:gd name="T29" fmla="*/ 665 h 3371"/>
                <a:gd name="T30" fmla="*/ 205 w 3628"/>
                <a:gd name="T31" fmla="*/ 516 h 3371"/>
                <a:gd name="T32" fmla="*/ 341 w 3628"/>
                <a:gd name="T33" fmla="*/ 166 h 3371"/>
                <a:gd name="T34" fmla="*/ 679 w 3628"/>
                <a:gd name="T35" fmla="*/ 2 h 3371"/>
                <a:gd name="T36" fmla="*/ 698 w 3628"/>
                <a:gd name="T37" fmla="*/ 1 h 3371"/>
                <a:gd name="T38" fmla="*/ 2914 w 3628"/>
                <a:gd name="T39" fmla="*/ 0 h 3371"/>
                <a:gd name="T40" fmla="*/ 3259 w 3628"/>
                <a:gd name="T41" fmla="*/ 132 h 3371"/>
                <a:gd name="T42" fmla="*/ 3425 w 3628"/>
                <a:gd name="T43" fmla="*/ 467 h 3371"/>
                <a:gd name="T44" fmla="*/ 3423 w 3628"/>
                <a:gd name="T45" fmla="*/ 597 h 3371"/>
                <a:gd name="T46" fmla="*/ 3423 w 3628"/>
                <a:gd name="T47" fmla="*/ 618 h 3371"/>
                <a:gd name="T48" fmla="*/ 3410 w 3628"/>
                <a:gd name="T49" fmla="*/ 772 h 3371"/>
                <a:gd name="T50" fmla="*/ 3392 w 3628"/>
                <a:gd name="T51" fmla="*/ 1036 h 3371"/>
                <a:gd name="T52" fmla="*/ 3442 w 3628"/>
                <a:gd name="T53" fmla="*/ 1056 h 3371"/>
                <a:gd name="T54" fmla="*/ 3628 w 3628"/>
                <a:gd name="T55" fmla="*/ 1872 h 3371"/>
                <a:gd name="T56" fmla="*/ 3318 w 3628"/>
                <a:gd name="T57" fmla="*/ 2061 h 3371"/>
                <a:gd name="T58" fmla="*/ 3310 w 3628"/>
                <a:gd name="T59" fmla="*/ 2180 h 3371"/>
                <a:gd name="T60" fmla="*/ 3307 w 3628"/>
                <a:gd name="T61" fmla="*/ 2210 h 3371"/>
                <a:gd name="T62" fmla="*/ 3169 w 3628"/>
                <a:gd name="T63" fmla="*/ 2739 h 3371"/>
                <a:gd name="T64" fmla="*/ 2908 w 3628"/>
                <a:gd name="T65" fmla="*/ 2981 h 3371"/>
                <a:gd name="T66" fmla="*/ 2788 w 3628"/>
                <a:gd name="T67" fmla="*/ 3038 h 3371"/>
                <a:gd name="T68" fmla="*/ 2785 w 3628"/>
                <a:gd name="T69" fmla="*/ 3039 h 3371"/>
                <a:gd name="T70" fmla="*/ 2756 w 3628"/>
                <a:gd name="T71" fmla="*/ 3050 h 3371"/>
                <a:gd name="T72" fmla="*/ 2753 w 3628"/>
                <a:gd name="T73" fmla="*/ 3052 h 3371"/>
                <a:gd name="T74" fmla="*/ 2182 w 3628"/>
                <a:gd name="T75" fmla="*/ 3303 h 3371"/>
                <a:gd name="T76" fmla="*/ 1930 w 3628"/>
                <a:gd name="T77" fmla="*/ 3365 h 33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3628" h="3371">
                  <a:moveTo>
                    <a:pt x="1817" y="3371"/>
                  </a:moveTo>
                  <a:cubicBezTo>
                    <a:pt x="1729" y="3371"/>
                    <a:pt x="1646" y="3362"/>
                    <a:pt x="1572" y="3344"/>
                  </a:cubicBezTo>
                  <a:cubicBezTo>
                    <a:pt x="1571" y="3344"/>
                    <a:pt x="1571" y="3344"/>
                    <a:pt x="1571" y="3344"/>
                  </a:cubicBezTo>
                  <a:cubicBezTo>
                    <a:pt x="1510" y="3328"/>
                    <a:pt x="1458" y="3304"/>
                    <a:pt x="1411" y="3284"/>
                  </a:cubicBezTo>
                  <a:cubicBezTo>
                    <a:pt x="1410" y="3283"/>
                    <a:pt x="1410" y="3283"/>
                    <a:pt x="1410" y="3283"/>
                  </a:cubicBezTo>
                  <a:cubicBezTo>
                    <a:pt x="1402" y="3281"/>
                    <a:pt x="1402" y="3281"/>
                    <a:pt x="1402" y="3281"/>
                  </a:cubicBezTo>
                  <a:cubicBezTo>
                    <a:pt x="1401" y="3280"/>
                    <a:pt x="1401" y="3280"/>
                    <a:pt x="1401" y="3280"/>
                  </a:cubicBezTo>
                  <a:cubicBezTo>
                    <a:pt x="1219" y="3202"/>
                    <a:pt x="1059" y="3132"/>
                    <a:pt x="904" y="3064"/>
                  </a:cubicBezTo>
                  <a:cubicBezTo>
                    <a:pt x="861" y="3045"/>
                    <a:pt x="819" y="3026"/>
                    <a:pt x="777" y="3008"/>
                  </a:cubicBezTo>
                  <a:cubicBezTo>
                    <a:pt x="673" y="2961"/>
                    <a:pt x="580" y="2888"/>
                    <a:pt x="500" y="2789"/>
                  </a:cubicBezTo>
                  <a:cubicBezTo>
                    <a:pt x="500" y="2788"/>
                    <a:pt x="500" y="2788"/>
                    <a:pt x="500" y="2788"/>
                  </a:cubicBezTo>
                  <a:cubicBezTo>
                    <a:pt x="416" y="2681"/>
                    <a:pt x="366" y="2571"/>
                    <a:pt x="347" y="2452"/>
                  </a:cubicBezTo>
                  <a:cubicBezTo>
                    <a:pt x="342" y="2422"/>
                    <a:pt x="339" y="2395"/>
                    <a:pt x="336" y="2369"/>
                  </a:cubicBezTo>
                  <a:cubicBezTo>
                    <a:pt x="323" y="2223"/>
                    <a:pt x="323" y="2223"/>
                    <a:pt x="323" y="2223"/>
                  </a:cubicBezTo>
                  <a:cubicBezTo>
                    <a:pt x="323" y="2221"/>
                    <a:pt x="323" y="2221"/>
                    <a:pt x="323" y="2221"/>
                  </a:cubicBezTo>
                  <a:cubicBezTo>
                    <a:pt x="323" y="2218"/>
                    <a:pt x="322" y="2198"/>
                    <a:pt x="313" y="2061"/>
                  </a:cubicBezTo>
                  <a:cubicBezTo>
                    <a:pt x="186" y="2061"/>
                    <a:pt x="186" y="2061"/>
                    <a:pt x="186" y="2061"/>
                  </a:cubicBezTo>
                  <a:cubicBezTo>
                    <a:pt x="84" y="2061"/>
                    <a:pt x="0" y="1976"/>
                    <a:pt x="0" y="1872"/>
                  </a:cubicBezTo>
                  <a:cubicBezTo>
                    <a:pt x="0" y="1242"/>
                    <a:pt x="0" y="1242"/>
                    <a:pt x="0" y="1242"/>
                  </a:cubicBezTo>
                  <a:cubicBezTo>
                    <a:pt x="0" y="1139"/>
                    <a:pt x="84" y="1056"/>
                    <a:pt x="186" y="1056"/>
                  </a:cubicBezTo>
                  <a:cubicBezTo>
                    <a:pt x="242" y="1056"/>
                    <a:pt x="242" y="1056"/>
                    <a:pt x="242" y="1056"/>
                  </a:cubicBezTo>
                  <a:cubicBezTo>
                    <a:pt x="242" y="1055"/>
                    <a:pt x="242" y="1048"/>
                    <a:pt x="241" y="1046"/>
                  </a:cubicBezTo>
                  <a:cubicBezTo>
                    <a:pt x="240" y="1045"/>
                    <a:pt x="240" y="1045"/>
                    <a:pt x="240" y="1045"/>
                  </a:cubicBezTo>
                  <a:cubicBezTo>
                    <a:pt x="234" y="940"/>
                    <a:pt x="234" y="940"/>
                    <a:pt x="234" y="940"/>
                  </a:cubicBezTo>
                  <a:cubicBezTo>
                    <a:pt x="231" y="903"/>
                    <a:pt x="229" y="865"/>
                    <a:pt x="226" y="827"/>
                  </a:cubicBezTo>
                  <a:cubicBezTo>
                    <a:pt x="223" y="790"/>
                    <a:pt x="221" y="753"/>
                    <a:pt x="218" y="716"/>
                  </a:cubicBezTo>
                  <a:cubicBezTo>
                    <a:pt x="217" y="708"/>
                    <a:pt x="216" y="699"/>
                    <a:pt x="216" y="690"/>
                  </a:cubicBezTo>
                  <a:cubicBezTo>
                    <a:pt x="215" y="683"/>
                    <a:pt x="215" y="676"/>
                    <a:pt x="214" y="670"/>
                  </a:cubicBezTo>
                  <a:cubicBezTo>
                    <a:pt x="213" y="668"/>
                    <a:pt x="213" y="668"/>
                    <a:pt x="213" y="668"/>
                  </a:cubicBezTo>
                  <a:cubicBezTo>
                    <a:pt x="213" y="665"/>
                    <a:pt x="213" y="665"/>
                    <a:pt x="213" y="665"/>
                  </a:cubicBezTo>
                  <a:cubicBezTo>
                    <a:pt x="212" y="649"/>
                    <a:pt x="211" y="633"/>
                    <a:pt x="210" y="618"/>
                  </a:cubicBezTo>
                  <a:cubicBezTo>
                    <a:pt x="208" y="585"/>
                    <a:pt x="205" y="552"/>
                    <a:pt x="205" y="516"/>
                  </a:cubicBezTo>
                  <a:cubicBezTo>
                    <a:pt x="205" y="386"/>
                    <a:pt x="253" y="262"/>
                    <a:pt x="341" y="166"/>
                  </a:cubicBezTo>
                  <a:cubicBezTo>
                    <a:pt x="341" y="166"/>
                    <a:pt x="341" y="166"/>
                    <a:pt x="341" y="166"/>
                  </a:cubicBezTo>
                  <a:cubicBezTo>
                    <a:pt x="430" y="72"/>
                    <a:pt x="549" y="13"/>
                    <a:pt x="677" y="2"/>
                  </a:cubicBezTo>
                  <a:cubicBezTo>
                    <a:pt x="679" y="2"/>
                    <a:pt x="679" y="2"/>
                    <a:pt x="679" y="2"/>
                  </a:cubicBezTo>
                  <a:cubicBezTo>
                    <a:pt x="681" y="2"/>
                    <a:pt x="681" y="2"/>
                    <a:pt x="681" y="2"/>
                  </a:cubicBezTo>
                  <a:cubicBezTo>
                    <a:pt x="687" y="2"/>
                    <a:pt x="692" y="2"/>
                    <a:pt x="698" y="1"/>
                  </a:cubicBezTo>
                  <a:cubicBezTo>
                    <a:pt x="706" y="0"/>
                    <a:pt x="715" y="0"/>
                    <a:pt x="725" y="0"/>
                  </a:cubicBezTo>
                  <a:cubicBezTo>
                    <a:pt x="2914" y="0"/>
                    <a:pt x="2914" y="0"/>
                    <a:pt x="2914" y="0"/>
                  </a:cubicBezTo>
                  <a:cubicBezTo>
                    <a:pt x="3039" y="0"/>
                    <a:pt x="3161" y="47"/>
                    <a:pt x="3258" y="132"/>
                  </a:cubicBezTo>
                  <a:cubicBezTo>
                    <a:pt x="3259" y="132"/>
                    <a:pt x="3259" y="132"/>
                    <a:pt x="3259" y="132"/>
                  </a:cubicBezTo>
                  <a:cubicBezTo>
                    <a:pt x="3355" y="220"/>
                    <a:pt x="3414" y="339"/>
                    <a:pt x="3425" y="466"/>
                  </a:cubicBezTo>
                  <a:cubicBezTo>
                    <a:pt x="3425" y="467"/>
                    <a:pt x="3425" y="467"/>
                    <a:pt x="3425" y="467"/>
                  </a:cubicBezTo>
                  <a:cubicBezTo>
                    <a:pt x="3425" y="467"/>
                    <a:pt x="3425" y="467"/>
                    <a:pt x="3425" y="467"/>
                  </a:cubicBezTo>
                  <a:cubicBezTo>
                    <a:pt x="3428" y="517"/>
                    <a:pt x="3425" y="561"/>
                    <a:pt x="3423" y="597"/>
                  </a:cubicBezTo>
                  <a:cubicBezTo>
                    <a:pt x="3423" y="616"/>
                    <a:pt x="3423" y="616"/>
                    <a:pt x="3423" y="616"/>
                  </a:cubicBezTo>
                  <a:cubicBezTo>
                    <a:pt x="3423" y="618"/>
                    <a:pt x="3423" y="618"/>
                    <a:pt x="3423" y="618"/>
                  </a:cubicBezTo>
                  <a:cubicBezTo>
                    <a:pt x="3420" y="644"/>
                    <a:pt x="3418" y="669"/>
                    <a:pt x="3416" y="693"/>
                  </a:cubicBezTo>
                  <a:cubicBezTo>
                    <a:pt x="3415" y="719"/>
                    <a:pt x="3413" y="746"/>
                    <a:pt x="3410" y="772"/>
                  </a:cubicBezTo>
                  <a:cubicBezTo>
                    <a:pt x="3410" y="797"/>
                    <a:pt x="3407" y="820"/>
                    <a:pt x="3405" y="842"/>
                  </a:cubicBezTo>
                  <a:cubicBezTo>
                    <a:pt x="3404" y="864"/>
                    <a:pt x="3400" y="922"/>
                    <a:pt x="3392" y="1036"/>
                  </a:cubicBezTo>
                  <a:cubicBezTo>
                    <a:pt x="3390" y="1056"/>
                    <a:pt x="3390" y="1056"/>
                    <a:pt x="3390" y="1056"/>
                  </a:cubicBezTo>
                  <a:cubicBezTo>
                    <a:pt x="3442" y="1056"/>
                    <a:pt x="3442" y="1056"/>
                    <a:pt x="3442" y="1056"/>
                  </a:cubicBezTo>
                  <a:cubicBezTo>
                    <a:pt x="3544" y="1056"/>
                    <a:pt x="3628" y="1139"/>
                    <a:pt x="3628" y="1242"/>
                  </a:cubicBezTo>
                  <a:cubicBezTo>
                    <a:pt x="3628" y="1872"/>
                    <a:pt x="3628" y="1872"/>
                    <a:pt x="3628" y="1872"/>
                  </a:cubicBezTo>
                  <a:cubicBezTo>
                    <a:pt x="3628" y="1976"/>
                    <a:pt x="3544" y="2061"/>
                    <a:pt x="3442" y="2061"/>
                  </a:cubicBezTo>
                  <a:cubicBezTo>
                    <a:pt x="3318" y="2061"/>
                    <a:pt x="3318" y="2061"/>
                    <a:pt x="3318" y="2061"/>
                  </a:cubicBezTo>
                  <a:cubicBezTo>
                    <a:pt x="3317" y="2075"/>
                    <a:pt x="3317" y="2090"/>
                    <a:pt x="3315" y="2106"/>
                  </a:cubicBezTo>
                  <a:cubicBezTo>
                    <a:pt x="3312" y="2130"/>
                    <a:pt x="3310" y="2156"/>
                    <a:pt x="3310" y="2180"/>
                  </a:cubicBezTo>
                  <a:cubicBezTo>
                    <a:pt x="3310" y="2182"/>
                    <a:pt x="3310" y="2182"/>
                    <a:pt x="3310" y="2182"/>
                  </a:cubicBezTo>
                  <a:cubicBezTo>
                    <a:pt x="3307" y="2210"/>
                    <a:pt x="3307" y="2210"/>
                    <a:pt x="3307" y="2210"/>
                  </a:cubicBezTo>
                  <a:cubicBezTo>
                    <a:pt x="3303" y="2258"/>
                    <a:pt x="3299" y="2304"/>
                    <a:pt x="3297" y="2348"/>
                  </a:cubicBezTo>
                  <a:cubicBezTo>
                    <a:pt x="3294" y="2481"/>
                    <a:pt x="3250" y="2616"/>
                    <a:pt x="3169" y="2739"/>
                  </a:cubicBezTo>
                  <a:cubicBezTo>
                    <a:pt x="3168" y="2740"/>
                    <a:pt x="3168" y="2740"/>
                    <a:pt x="3168" y="2740"/>
                  </a:cubicBezTo>
                  <a:cubicBezTo>
                    <a:pt x="3096" y="2846"/>
                    <a:pt x="3003" y="2931"/>
                    <a:pt x="2908" y="2981"/>
                  </a:cubicBezTo>
                  <a:cubicBezTo>
                    <a:pt x="2877" y="2998"/>
                    <a:pt x="2848" y="3011"/>
                    <a:pt x="2820" y="3024"/>
                  </a:cubicBezTo>
                  <a:cubicBezTo>
                    <a:pt x="2809" y="3029"/>
                    <a:pt x="2798" y="3033"/>
                    <a:pt x="2788" y="3038"/>
                  </a:cubicBezTo>
                  <a:cubicBezTo>
                    <a:pt x="2787" y="3039"/>
                    <a:pt x="2787" y="3039"/>
                    <a:pt x="2787" y="3039"/>
                  </a:cubicBezTo>
                  <a:cubicBezTo>
                    <a:pt x="2785" y="3039"/>
                    <a:pt x="2785" y="3039"/>
                    <a:pt x="2785" y="3039"/>
                  </a:cubicBezTo>
                  <a:cubicBezTo>
                    <a:pt x="2779" y="3042"/>
                    <a:pt x="2774" y="3044"/>
                    <a:pt x="2769" y="3045"/>
                  </a:cubicBezTo>
                  <a:cubicBezTo>
                    <a:pt x="2764" y="3047"/>
                    <a:pt x="2759" y="3049"/>
                    <a:pt x="2756" y="3050"/>
                  </a:cubicBezTo>
                  <a:cubicBezTo>
                    <a:pt x="2755" y="3051"/>
                    <a:pt x="2755" y="3051"/>
                    <a:pt x="2755" y="3051"/>
                  </a:cubicBezTo>
                  <a:cubicBezTo>
                    <a:pt x="2753" y="3052"/>
                    <a:pt x="2753" y="3052"/>
                    <a:pt x="2753" y="3052"/>
                  </a:cubicBezTo>
                  <a:cubicBezTo>
                    <a:pt x="2619" y="3110"/>
                    <a:pt x="2486" y="3169"/>
                    <a:pt x="2357" y="3226"/>
                  </a:cubicBezTo>
                  <a:cubicBezTo>
                    <a:pt x="2296" y="3253"/>
                    <a:pt x="2237" y="3278"/>
                    <a:pt x="2182" y="3303"/>
                  </a:cubicBezTo>
                  <a:cubicBezTo>
                    <a:pt x="2181" y="3303"/>
                    <a:pt x="2181" y="3303"/>
                    <a:pt x="2181" y="3303"/>
                  </a:cubicBezTo>
                  <a:cubicBezTo>
                    <a:pt x="2101" y="3337"/>
                    <a:pt x="2019" y="3358"/>
                    <a:pt x="1930" y="3365"/>
                  </a:cubicBezTo>
                  <a:cubicBezTo>
                    <a:pt x="1891" y="3371"/>
                    <a:pt x="1851" y="3371"/>
                    <a:pt x="1817" y="337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6" name="Freeform 6"/>
            <p:cNvSpPr>
              <a:spLocks noEditPoints="1"/>
            </p:cNvSpPr>
            <p:nvPr/>
          </p:nvSpPr>
          <p:spPr bwMode="auto">
            <a:xfrm>
              <a:off x="117" y="3646"/>
              <a:ext cx="613" cy="578"/>
            </a:xfrm>
            <a:custGeom>
              <a:avLst/>
              <a:gdLst>
                <a:gd name="T0" fmla="*/ 3425 w 3722"/>
                <a:gd name="T1" fmla="*/ 518 h 3466"/>
                <a:gd name="T2" fmla="*/ 3409 w 3722"/>
                <a:gd name="T3" fmla="*/ 818 h 3466"/>
                <a:gd name="T4" fmla="*/ 3489 w 3722"/>
                <a:gd name="T5" fmla="*/ 1151 h 3466"/>
                <a:gd name="T6" fmla="*/ 3489 w 3722"/>
                <a:gd name="T7" fmla="*/ 2061 h 3466"/>
                <a:gd name="T8" fmla="*/ 3315 w 3722"/>
                <a:gd name="T9" fmla="*/ 2148 h 3466"/>
                <a:gd name="T10" fmla="*/ 3176 w 3722"/>
                <a:gd name="T11" fmla="*/ 2761 h 3466"/>
                <a:gd name="T12" fmla="*/ 2781 w 3722"/>
                <a:gd name="T13" fmla="*/ 3056 h 3466"/>
                <a:gd name="T14" fmla="*/ 1864 w 3722"/>
                <a:gd name="T15" fmla="*/ 3371 h 3466"/>
                <a:gd name="T16" fmla="*/ 1466 w 3722"/>
                <a:gd name="T17" fmla="*/ 3284 h 3466"/>
                <a:gd name="T18" fmla="*/ 441 w 3722"/>
                <a:gd name="T19" fmla="*/ 2492 h 3466"/>
                <a:gd name="T20" fmla="*/ 405 w 3722"/>
                <a:gd name="T21" fmla="*/ 2061 h 3466"/>
                <a:gd name="T22" fmla="*/ 95 w 3722"/>
                <a:gd name="T23" fmla="*/ 1290 h 3466"/>
                <a:gd name="T24" fmla="*/ 333 w 3722"/>
                <a:gd name="T25" fmla="*/ 1072 h 3466"/>
                <a:gd name="T26" fmla="*/ 308 w 3722"/>
                <a:gd name="T27" fmla="*/ 710 h 3466"/>
                <a:gd name="T28" fmla="*/ 728 w 3722"/>
                <a:gd name="T29" fmla="*/ 98 h 3466"/>
                <a:gd name="T30" fmla="*/ 2961 w 3722"/>
                <a:gd name="T31" fmla="*/ 95 h 3466"/>
                <a:gd name="T32" fmla="*/ 772 w 3722"/>
                <a:gd name="T33" fmla="*/ 0 h 3466"/>
                <a:gd name="T34" fmla="*/ 724 w 3722"/>
                <a:gd name="T35" fmla="*/ 3 h 3466"/>
                <a:gd name="T36" fmla="*/ 353 w 3722"/>
                <a:gd name="T37" fmla="*/ 182 h 3466"/>
                <a:gd name="T38" fmla="*/ 210 w 3722"/>
                <a:gd name="T39" fmla="*/ 669 h 3466"/>
                <a:gd name="T40" fmla="*/ 214 w 3722"/>
                <a:gd name="T41" fmla="*/ 726 h 3466"/>
                <a:gd name="T42" fmla="*/ 226 w 3722"/>
                <a:gd name="T43" fmla="*/ 879 h 3466"/>
                <a:gd name="T44" fmla="*/ 233 w 3722"/>
                <a:gd name="T45" fmla="*/ 1056 h 3466"/>
                <a:gd name="T46" fmla="*/ 0 w 3722"/>
                <a:gd name="T47" fmla="*/ 1920 h 3466"/>
                <a:gd name="T48" fmla="*/ 323 w 3722"/>
                <a:gd name="T49" fmla="*/ 2270 h 3466"/>
                <a:gd name="T50" fmla="*/ 336 w 3722"/>
                <a:gd name="T51" fmla="*/ 2421 h 3466"/>
                <a:gd name="T52" fmla="*/ 347 w 3722"/>
                <a:gd name="T53" fmla="*/ 2508 h 3466"/>
                <a:gd name="T54" fmla="*/ 510 w 3722"/>
                <a:gd name="T55" fmla="*/ 2867 h 3466"/>
                <a:gd name="T56" fmla="*/ 805 w 3722"/>
                <a:gd name="T57" fmla="*/ 3099 h 3466"/>
                <a:gd name="T58" fmla="*/ 1432 w 3722"/>
                <a:gd name="T59" fmla="*/ 3373 h 3466"/>
                <a:gd name="T60" fmla="*/ 1606 w 3722"/>
                <a:gd name="T61" fmla="*/ 3438 h 3466"/>
                <a:gd name="T62" fmla="*/ 1864 w 3722"/>
                <a:gd name="T63" fmla="*/ 3466 h 3466"/>
                <a:gd name="T64" fmla="*/ 2248 w 3722"/>
                <a:gd name="T65" fmla="*/ 3394 h 3466"/>
                <a:gd name="T66" fmla="*/ 2819 w 3722"/>
                <a:gd name="T67" fmla="*/ 3143 h 3466"/>
                <a:gd name="T68" fmla="*/ 2832 w 3722"/>
                <a:gd name="T69" fmla="*/ 3138 h 3466"/>
                <a:gd name="T70" fmla="*/ 2855 w 3722"/>
                <a:gd name="T71" fmla="*/ 3129 h 3466"/>
                <a:gd name="T72" fmla="*/ 3255 w 3722"/>
                <a:gd name="T73" fmla="*/ 2815 h 3466"/>
                <a:gd name="T74" fmla="*/ 3392 w 3722"/>
                <a:gd name="T75" fmla="*/ 2398 h 3466"/>
                <a:gd name="T76" fmla="*/ 3405 w 3722"/>
                <a:gd name="T77" fmla="*/ 2232 h 3466"/>
                <a:gd name="T78" fmla="*/ 3409 w 3722"/>
                <a:gd name="T79" fmla="*/ 2156 h 3466"/>
                <a:gd name="T80" fmla="*/ 3722 w 3722"/>
                <a:gd name="T81" fmla="*/ 1290 h 3466"/>
                <a:gd name="T82" fmla="*/ 3489 w 3722"/>
                <a:gd name="T83" fmla="*/ 1056 h 3466"/>
                <a:gd name="T84" fmla="*/ 3511 w 3722"/>
                <a:gd name="T85" fmla="*/ 745 h 3466"/>
                <a:gd name="T86" fmla="*/ 3517 w 3722"/>
                <a:gd name="T87" fmla="*/ 662 h 3466"/>
                <a:gd name="T88" fmla="*/ 3520 w 3722"/>
                <a:gd name="T89" fmla="*/ 511 h 3466"/>
                <a:gd name="T90" fmla="*/ 3337 w 3722"/>
                <a:gd name="T91" fmla="*/ 145 h 34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722" h="3466">
                  <a:moveTo>
                    <a:pt x="2961" y="95"/>
                  </a:moveTo>
                  <a:cubicBezTo>
                    <a:pt x="3076" y="95"/>
                    <a:pt x="3186" y="139"/>
                    <a:pt x="3274" y="216"/>
                  </a:cubicBezTo>
                  <a:cubicBezTo>
                    <a:pt x="3361" y="295"/>
                    <a:pt x="3415" y="403"/>
                    <a:pt x="3425" y="518"/>
                  </a:cubicBezTo>
                  <a:cubicBezTo>
                    <a:pt x="3427" y="564"/>
                    <a:pt x="3425" y="605"/>
                    <a:pt x="3422" y="644"/>
                  </a:cubicBezTo>
                  <a:cubicBezTo>
                    <a:pt x="3422" y="649"/>
                    <a:pt x="3422" y="657"/>
                    <a:pt x="3422" y="662"/>
                  </a:cubicBezTo>
                  <a:cubicBezTo>
                    <a:pt x="3417" y="716"/>
                    <a:pt x="3415" y="767"/>
                    <a:pt x="3409" y="818"/>
                  </a:cubicBezTo>
                  <a:cubicBezTo>
                    <a:pt x="3409" y="841"/>
                    <a:pt x="3407" y="864"/>
                    <a:pt x="3404" y="887"/>
                  </a:cubicBezTo>
                  <a:cubicBezTo>
                    <a:pt x="3404" y="910"/>
                    <a:pt x="3397" y="1010"/>
                    <a:pt x="3386" y="1151"/>
                  </a:cubicBezTo>
                  <a:cubicBezTo>
                    <a:pt x="3386" y="1151"/>
                    <a:pt x="3386" y="1151"/>
                    <a:pt x="3489" y="1151"/>
                  </a:cubicBezTo>
                  <a:cubicBezTo>
                    <a:pt x="3566" y="1151"/>
                    <a:pt x="3627" y="1213"/>
                    <a:pt x="3627" y="1290"/>
                  </a:cubicBezTo>
                  <a:cubicBezTo>
                    <a:pt x="3627" y="1290"/>
                    <a:pt x="3627" y="1290"/>
                    <a:pt x="3627" y="1920"/>
                  </a:cubicBezTo>
                  <a:cubicBezTo>
                    <a:pt x="3627" y="1997"/>
                    <a:pt x="3566" y="2061"/>
                    <a:pt x="3489" y="2061"/>
                  </a:cubicBezTo>
                  <a:cubicBezTo>
                    <a:pt x="3489" y="2061"/>
                    <a:pt x="3489" y="2061"/>
                    <a:pt x="3320" y="2061"/>
                  </a:cubicBezTo>
                  <a:cubicBezTo>
                    <a:pt x="3320" y="2061"/>
                    <a:pt x="3320" y="2061"/>
                    <a:pt x="3317" y="2095"/>
                  </a:cubicBezTo>
                  <a:cubicBezTo>
                    <a:pt x="3317" y="2113"/>
                    <a:pt x="3317" y="2131"/>
                    <a:pt x="3315" y="2148"/>
                  </a:cubicBezTo>
                  <a:cubicBezTo>
                    <a:pt x="3312" y="2174"/>
                    <a:pt x="3309" y="2202"/>
                    <a:pt x="3309" y="2228"/>
                  </a:cubicBezTo>
                  <a:cubicBezTo>
                    <a:pt x="3304" y="2287"/>
                    <a:pt x="3299" y="2341"/>
                    <a:pt x="3297" y="2395"/>
                  </a:cubicBezTo>
                  <a:cubicBezTo>
                    <a:pt x="3294" y="2520"/>
                    <a:pt x="3250" y="2648"/>
                    <a:pt x="3176" y="2761"/>
                  </a:cubicBezTo>
                  <a:cubicBezTo>
                    <a:pt x="3109" y="2859"/>
                    <a:pt x="3022" y="2941"/>
                    <a:pt x="2933" y="2987"/>
                  </a:cubicBezTo>
                  <a:cubicBezTo>
                    <a:pt x="2892" y="3010"/>
                    <a:pt x="2853" y="3025"/>
                    <a:pt x="2815" y="3043"/>
                  </a:cubicBezTo>
                  <a:cubicBezTo>
                    <a:pt x="2802" y="3048"/>
                    <a:pt x="2792" y="3051"/>
                    <a:pt x="2781" y="3056"/>
                  </a:cubicBezTo>
                  <a:cubicBezTo>
                    <a:pt x="2581" y="3143"/>
                    <a:pt x="2379" y="3233"/>
                    <a:pt x="2210" y="3307"/>
                  </a:cubicBezTo>
                  <a:cubicBezTo>
                    <a:pt x="2138" y="3338"/>
                    <a:pt x="2061" y="3358"/>
                    <a:pt x="1971" y="3366"/>
                  </a:cubicBezTo>
                  <a:cubicBezTo>
                    <a:pt x="1935" y="3371"/>
                    <a:pt x="1897" y="3371"/>
                    <a:pt x="1864" y="3371"/>
                  </a:cubicBezTo>
                  <a:cubicBezTo>
                    <a:pt x="1784" y="3371"/>
                    <a:pt x="1705" y="3364"/>
                    <a:pt x="1630" y="3346"/>
                  </a:cubicBezTo>
                  <a:cubicBezTo>
                    <a:pt x="1571" y="3330"/>
                    <a:pt x="1520" y="3307"/>
                    <a:pt x="1474" y="3287"/>
                  </a:cubicBezTo>
                  <a:cubicBezTo>
                    <a:pt x="1474" y="3287"/>
                    <a:pt x="1474" y="3287"/>
                    <a:pt x="1466" y="3284"/>
                  </a:cubicBezTo>
                  <a:cubicBezTo>
                    <a:pt x="1233" y="3184"/>
                    <a:pt x="1031" y="3094"/>
                    <a:pt x="843" y="3012"/>
                  </a:cubicBezTo>
                  <a:cubicBezTo>
                    <a:pt x="746" y="2969"/>
                    <a:pt x="659" y="2900"/>
                    <a:pt x="584" y="2807"/>
                  </a:cubicBezTo>
                  <a:cubicBezTo>
                    <a:pt x="505" y="2705"/>
                    <a:pt x="459" y="2602"/>
                    <a:pt x="441" y="2492"/>
                  </a:cubicBezTo>
                  <a:cubicBezTo>
                    <a:pt x="436" y="2464"/>
                    <a:pt x="433" y="2438"/>
                    <a:pt x="431" y="2413"/>
                  </a:cubicBezTo>
                  <a:cubicBezTo>
                    <a:pt x="431" y="2413"/>
                    <a:pt x="431" y="2413"/>
                    <a:pt x="418" y="2269"/>
                  </a:cubicBezTo>
                  <a:cubicBezTo>
                    <a:pt x="418" y="2261"/>
                    <a:pt x="413" y="2179"/>
                    <a:pt x="405" y="2061"/>
                  </a:cubicBezTo>
                  <a:cubicBezTo>
                    <a:pt x="405" y="2061"/>
                    <a:pt x="405" y="2061"/>
                    <a:pt x="233" y="2061"/>
                  </a:cubicBezTo>
                  <a:cubicBezTo>
                    <a:pt x="156" y="2061"/>
                    <a:pt x="95" y="1997"/>
                    <a:pt x="95" y="1920"/>
                  </a:cubicBezTo>
                  <a:cubicBezTo>
                    <a:pt x="95" y="1920"/>
                    <a:pt x="95" y="1920"/>
                    <a:pt x="95" y="1290"/>
                  </a:cubicBezTo>
                  <a:cubicBezTo>
                    <a:pt x="95" y="1213"/>
                    <a:pt x="156" y="1151"/>
                    <a:pt x="233" y="1151"/>
                  </a:cubicBezTo>
                  <a:cubicBezTo>
                    <a:pt x="233" y="1151"/>
                    <a:pt x="233" y="1151"/>
                    <a:pt x="341" y="1151"/>
                  </a:cubicBezTo>
                  <a:cubicBezTo>
                    <a:pt x="336" y="1105"/>
                    <a:pt x="336" y="1074"/>
                    <a:pt x="333" y="1072"/>
                  </a:cubicBezTo>
                  <a:cubicBezTo>
                    <a:pt x="333" y="1072"/>
                    <a:pt x="333" y="1072"/>
                    <a:pt x="328" y="985"/>
                  </a:cubicBezTo>
                  <a:cubicBezTo>
                    <a:pt x="323" y="910"/>
                    <a:pt x="318" y="833"/>
                    <a:pt x="313" y="759"/>
                  </a:cubicBezTo>
                  <a:cubicBezTo>
                    <a:pt x="310" y="744"/>
                    <a:pt x="310" y="726"/>
                    <a:pt x="308" y="710"/>
                  </a:cubicBezTo>
                  <a:cubicBezTo>
                    <a:pt x="305" y="662"/>
                    <a:pt x="300" y="616"/>
                    <a:pt x="300" y="564"/>
                  </a:cubicBezTo>
                  <a:cubicBezTo>
                    <a:pt x="300" y="446"/>
                    <a:pt x="343" y="334"/>
                    <a:pt x="423" y="246"/>
                  </a:cubicBezTo>
                  <a:cubicBezTo>
                    <a:pt x="502" y="162"/>
                    <a:pt x="610" y="108"/>
                    <a:pt x="728" y="98"/>
                  </a:cubicBezTo>
                  <a:cubicBezTo>
                    <a:pt x="743" y="98"/>
                    <a:pt x="756" y="95"/>
                    <a:pt x="772" y="95"/>
                  </a:cubicBezTo>
                  <a:cubicBezTo>
                    <a:pt x="1436" y="95"/>
                    <a:pt x="2097" y="95"/>
                    <a:pt x="2761" y="95"/>
                  </a:cubicBezTo>
                  <a:cubicBezTo>
                    <a:pt x="2761" y="95"/>
                    <a:pt x="2761" y="95"/>
                    <a:pt x="2961" y="95"/>
                  </a:cubicBezTo>
                  <a:moveTo>
                    <a:pt x="2961" y="0"/>
                  </a:moveTo>
                  <a:cubicBezTo>
                    <a:pt x="2761" y="0"/>
                    <a:pt x="2761" y="0"/>
                    <a:pt x="2761" y="0"/>
                  </a:cubicBezTo>
                  <a:cubicBezTo>
                    <a:pt x="772" y="0"/>
                    <a:pt x="772" y="0"/>
                    <a:pt x="772" y="0"/>
                  </a:cubicBezTo>
                  <a:cubicBezTo>
                    <a:pt x="760" y="0"/>
                    <a:pt x="749" y="1"/>
                    <a:pt x="741" y="2"/>
                  </a:cubicBezTo>
                  <a:cubicBezTo>
                    <a:pt x="736" y="2"/>
                    <a:pt x="731" y="3"/>
                    <a:pt x="728" y="3"/>
                  </a:cubicBezTo>
                  <a:cubicBezTo>
                    <a:pt x="724" y="3"/>
                    <a:pt x="724" y="3"/>
                    <a:pt x="724" y="3"/>
                  </a:cubicBezTo>
                  <a:cubicBezTo>
                    <a:pt x="720" y="3"/>
                    <a:pt x="720" y="3"/>
                    <a:pt x="720" y="3"/>
                  </a:cubicBezTo>
                  <a:cubicBezTo>
                    <a:pt x="580" y="15"/>
                    <a:pt x="450" y="78"/>
                    <a:pt x="354" y="181"/>
                  </a:cubicBezTo>
                  <a:cubicBezTo>
                    <a:pt x="353" y="182"/>
                    <a:pt x="353" y="182"/>
                    <a:pt x="353" y="182"/>
                  </a:cubicBezTo>
                  <a:cubicBezTo>
                    <a:pt x="353" y="182"/>
                    <a:pt x="353" y="182"/>
                    <a:pt x="353" y="182"/>
                  </a:cubicBezTo>
                  <a:cubicBezTo>
                    <a:pt x="257" y="287"/>
                    <a:pt x="205" y="423"/>
                    <a:pt x="205" y="564"/>
                  </a:cubicBezTo>
                  <a:cubicBezTo>
                    <a:pt x="205" y="602"/>
                    <a:pt x="207" y="636"/>
                    <a:pt x="210" y="669"/>
                  </a:cubicBezTo>
                  <a:cubicBezTo>
                    <a:pt x="211" y="685"/>
                    <a:pt x="212" y="700"/>
                    <a:pt x="213" y="715"/>
                  </a:cubicBezTo>
                  <a:cubicBezTo>
                    <a:pt x="213" y="721"/>
                    <a:pt x="213" y="721"/>
                    <a:pt x="213" y="721"/>
                  </a:cubicBezTo>
                  <a:cubicBezTo>
                    <a:pt x="214" y="726"/>
                    <a:pt x="214" y="726"/>
                    <a:pt x="214" y="726"/>
                  </a:cubicBezTo>
                  <a:cubicBezTo>
                    <a:pt x="214" y="730"/>
                    <a:pt x="215" y="736"/>
                    <a:pt x="215" y="742"/>
                  </a:cubicBezTo>
                  <a:cubicBezTo>
                    <a:pt x="216" y="750"/>
                    <a:pt x="217" y="760"/>
                    <a:pt x="218" y="770"/>
                  </a:cubicBezTo>
                  <a:cubicBezTo>
                    <a:pt x="221" y="806"/>
                    <a:pt x="223" y="842"/>
                    <a:pt x="226" y="879"/>
                  </a:cubicBezTo>
                  <a:cubicBezTo>
                    <a:pt x="228" y="916"/>
                    <a:pt x="231" y="954"/>
                    <a:pt x="233" y="991"/>
                  </a:cubicBezTo>
                  <a:cubicBezTo>
                    <a:pt x="237" y="1056"/>
                    <a:pt x="237" y="1056"/>
                    <a:pt x="237" y="1056"/>
                  </a:cubicBezTo>
                  <a:cubicBezTo>
                    <a:pt x="233" y="1056"/>
                    <a:pt x="233" y="1056"/>
                    <a:pt x="233" y="1056"/>
                  </a:cubicBezTo>
                  <a:cubicBezTo>
                    <a:pt x="171" y="1056"/>
                    <a:pt x="112" y="1080"/>
                    <a:pt x="68" y="1124"/>
                  </a:cubicBezTo>
                  <a:cubicBezTo>
                    <a:pt x="24" y="1168"/>
                    <a:pt x="0" y="1227"/>
                    <a:pt x="0" y="1290"/>
                  </a:cubicBezTo>
                  <a:cubicBezTo>
                    <a:pt x="0" y="1920"/>
                    <a:pt x="0" y="1920"/>
                    <a:pt x="0" y="1920"/>
                  </a:cubicBezTo>
                  <a:cubicBezTo>
                    <a:pt x="0" y="2051"/>
                    <a:pt x="104" y="2156"/>
                    <a:pt x="233" y="2156"/>
                  </a:cubicBezTo>
                  <a:cubicBezTo>
                    <a:pt x="316" y="2156"/>
                    <a:pt x="316" y="2156"/>
                    <a:pt x="316" y="2156"/>
                  </a:cubicBezTo>
                  <a:cubicBezTo>
                    <a:pt x="322" y="2246"/>
                    <a:pt x="323" y="2266"/>
                    <a:pt x="323" y="2270"/>
                  </a:cubicBezTo>
                  <a:cubicBezTo>
                    <a:pt x="323" y="2273"/>
                    <a:pt x="323" y="2273"/>
                    <a:pt x="323" y="2273"/>
                  </a:cubicBezTo>
                  <a:cubicBezTo>
                    <a:pt x="323" y="2277"/>
                    <a:pt x="323" y="2277"/>
                    <a:pt x="323" y="2277"/>
                  </a:cubicBezTo>
                  <a:cubicBezTo>
                    <a:pt x="336" y="2421"/>
                    <a:pt x="336" y="2421"/>
                    <a:pt x="336" y="2421"/>
                  </a:cubicBezTo>
                  <a:cubicBezTo>
                    <a:pt x="336" y="2421"/>
                    <a:pt x="336" y="2421"/>
                    <a:pt x="336" y="2421"/>
                  </a:cubicBezTo>
                  <a:cubicBezTo>
                    <a:pt x="336" y="2422"/>
                    <a:pt x="336" y="2422"/>
                    <a:pt x="336" y="2422"/>
                  </a:cubicBezTo>
                  <a:cubicBezTo>
                    <a:pt x="339" y="2449"/>
                    <a:pt x="341" y="2477"/>
                    <a:pt x="347" y="2508"/>
                  </a:cubicBezTo>
                  <a:cubicBezTo>
                    <a:pt x="368" y="2635"/>
                    <a:pt x="421" y="2752"/>
                    <a:pt x="509" y="2866"/>
                  </a:cubicBezTo>
                  <a:cubicBezTo>
                    <a:pt x="510" y="2866"/>
                    <a:pt x="510" y="2866"/>
                    <a:pt x="510" y="2866"/>
                  </a:cubicBezTo>
                  <a:cubicBezTo>
                    <a:pt x="510" y="2867"/>
                    <a:pt x="510" y="2867"/>
                    <a:pt x="510" y="2867"/>
                  </a:cubicBezTo>
                  <a:cubicBezTo>
                    <a:pt x="595" y="2971"/>
                    <a:pt x="693" y="3049"/>
                    <a:pt x="805" y="3099"/>
                  </a:cubicBezTo>
                  <a:cubicBezTo>
                    <a:pt x="805" y="3099"/>
                    <a:pt x="805" y="3099"/>
                    <a:pt x="805" y="3099"/>
                  </a:cubicBezTo>
                  <a:cubicBezTo>
                    <a:pt x="805" y="3099"/>
                    <a:pt x="805" y="3099"/>
                    <a:pt x="805" y="3099"/>
                  </a:cubicBezTo>
                  <a:cubicBezTo>
                    <a:pt x="847" y="3118"/>
                    <a:pt x="889" y="3136"/>
                    <a:pt x="932" y="3155"/>
                  </a:cubicBezTo>
                  <a:cubicBezTo>
                    <a:pt x="1087" y="3223"/>
                    <a:pt x="1247" y="3294"/>
                    <a:pt x="1429" y="3372"/>
                  </a:cubicBezTo>
                  <a:cubicBezTo>
                    <a:pt x="1432" y="3373"/>
                    <a:pt x="1432" y="3373"/>
                    <a:pt x="1432" y="3373"/>
                  </a:cubicBezTo>
                  <a:cubicBezTo>
                    <a:pt x="1436" y="3374"/>
                    <a:pt x="1436" y="3374"/>
                    <a:pt x="1436" y="3374"/>
                  </a:cubicBezTo>
                  <a:cubicBezTo>
                    <a:pt x="1440" y="3375"/>
                    <a:pt x="1440" y="3375"/>
                    <a:pt x="1440" y="3375"/>
                  </a:cubicBezTo>
                  <a:cubicBezTo>
                    <a:pt x="1487" y="3397"/>
                    <a:pt x="1542" y="3421"/>
                    <a:pt x="1606" y="3438"/>
                  </a:cubicBezTo>
                  <a:cubicBezTo>
                    <a:pt x="1607" y="3438"/>
                    <a:pt x="1607" y="3438"/>
                    <a:pt x="1607" y="3438"/>
                  </a:cubicBezTo>
                  <a:cubicBezTo>
                    <a:pt x="1608" y="3438"/>
                    <a:pt x="1608" y="3438"/>
                    <a:pt x="1608" y="3438"/>
                  </a:cubicBezTo>
                  <a:cubicBezTo>
                    <a:pt x="1686" y="3457"/>
                    <a:pt x="1772" y="3466"/>
                    <a:pt x="1864" y="3466"/>
                  </a:cubicBezTo>
                  <a:cubicBezTo>
                    <a:pt x="1898" y="3466"/>
                    <a:pt x="1940" y="3466"/>
                    <a:pt x="1982" y="3461"/>
                  </a:cubicBezTo>
                  <a:cubicBezTo>
                    <a:pt x="2076" y="3452"/>
                    <a:pt x="2163" y="3431"/>
                    <a:pt x="2247" y="3395"/>
                  </a:cubicBezTo>
                  <a:cubicBezTo>
                    <a:pt x="2248" y="3394"/>
                    <a:pt x="2248" y="3394"/>
                    <a:pt x="2248" y="3394"/>
                  </a:cubicBezTo>
                  <a:cubicBezTo>
                    <a:pt x="2248" y="3394"/>
                    <a:pt x="2248" y="3394"/>
                    <a:pt x="2248" y="3394"/>
                  </a:cubicBezTo>
                  <a:cubicBezTo>
                    <a:pt x="2303" y="3370"/>
                    <a:pt x="2362" y="3344"/>
                    <a:pt x="2423" y="3317"/>
                  </a:cubicBezTo>
                  <a:cubicBezTo>
                    <a:pt x="2552" y="3260"/>
                    <a:pt x="2685" y="3202"/>
                    <a:pt x="2819" y="3143"/>
                  </a:cubicBezTo>
                  <a:cubicBezTo>
                    <a:pt x="2822" y="3142"/>
                    <a:pt x="2822" y="3142"/>
                    <a:pt x="2822" y="3142"/>
                  </a:cubicBezTo>
                  <a:cubicBezTo>
                    <a:pt x="2824" y="3141"/>
                    <a:pt x="2824" y="3141"/>
                    <a:pt x="2824" y="3141"/>
                  </a:cubicBezTo>
                  <a:cubicBezTo>
                    <a:pt x="2825" y="3141"/>
                    <a:pt x="2829" y="3139"/>
                    <a:pt x="2832" y="3138"/>
                  </a:cubicBezTo>
                  <a:cubicBezTo>
                    <a:pt x="2837" y="3136"/>
                    <a:pt x="2843" y="3134"/>
                    <a:pt x="2850" y="3131"/>
                  </a:cubicBezTo>
                  <a:cubicBezTo>
                    <a:pt x="2852" y="3130"/>
                    <a:pt x="2852" y="3130"/>
                    <a:pt x="2852" y="3130"/>
                  </a:cubicBezTo>
                  <a:cubicBezTo>
                    <a:pt x="2855" y="3129"/>
                    <a:pt x="2855" y="3129"/>
                    <a:pt x="2855" y="3129"/>
                  </a:cubicBezTo>
                  <a:cubicBezTo>
                    <a:pt x="2865" y="3125"/>
                    <a:pt x="2875" y="3120"/>
                    <a:pt x="2886" y="3115"/>
                  </a:cubicBezTo>
                  <a:cubicBezTo>
                    <a:pt x="2915" y="3102"/>
                    <a:pt x="2945" y="3089"/>
                    <a:pt x="2978" y="3070"/>
                  </a:cubicBezTo>
                  <a:cubicBezTo>
                    <a:pt x="3080" y="3018"/>
                    <a:pt x="3178" y="2927"/>
                    <a:pt x="3255" y="2815"/>
                  </a:cubicBezTo>
                  <a:cubicBezTo>
                    <a:pt x="3255" y="2814"/>
                    <a:pt x="3255" y="2814"/>
                    <a:pt x="3255" y="2814"/>
                  </a:cubicBezTo>
                  <a:cubicBezTo>
                    <a:pt x="3256" y="2813"/>
                    <a:pt x="3256" y="2813"/>
                    <a:pt x="3256" y="2813"/>
                  </a:cubicBezTo>
                  <a:cubicBezTo>
                    <a:pt x="3341" y="2683"/>
                    <a:pt x="3388" y="2539"/>
                    <a:pt x="3392" y="2398"/>
                  </a:cubicBezTo>
                  <a:cubicBezTo>
                    <a:pt x="3394" y="2354"/>
                    <a:pt x="3398" y="2310"/>
                    <a:pt x="3402" y="2262"/>
                  </a:cubicBezTo>
                  <a:cubicBezTo>
                    <a:pt x="3403" y="2254"/>
                    <a:pt x="3403" y="2245"/>
                    <a:pt x="3404" y="2236"/>
                  </a:cubicBezTo>
                  <a:cubicBezTo>
                    <a:pt x="3405" y="2232"/>
                    <a:pt x="3405" y="2232"/>
                    <a:pt x="3405" y="2232"/>
                  </a:cubicBezTo>
                  <a:cubicBezTo>
                    <a:pt x="3405" y="2228"/>
                    <a:pt x="3405" y="2228"/>
                    <a:pt x="3405" y="2228"/>
                  </a:cubicBezTo>
                  <a:cubicBezTo>
                    <a:pt x="3405" y="2207"/>
                    <a:pt x="3407" y="2182"/>
                    <a:pt x="3409" y="2160"/>
                  </a:cubicBezTo>
                  <a:cubicBezTo>
                    <a:pt x="3409" y="2159"/>
                    <a:pt x="3409" y="2158"/>
                    <a:pt x="3409" y="2156"/>
                  </a:cubicBezTo>
                  <a:cubicBezTo>
                    <a:pt x="3489" y="2156"/>
                    <a:pt x="3489" y="2156"/>
                    <a:pt x="3489" y="2156"/>
                  </a:cubicBezTo>
                  <a:cubicBezTo>
                    <a:pt x="3618" y="2156"/>
                    <a:pt x="3722" y="2051"/>
                    <a:pt x="3722" y="1920"/>
                  </a:cubicBezTo>
                  <a:cubicBezTo>
                    <a:pt x="3722" y="1290"/>
                    <a:pt x="3722" y="1290"/>
                    <a:pt x="3722" y="1290"/>
                  </a:cubicBezTo>
                  <a:cubicBezTo>
                    <a:pt x="3722" y="1227"/>
                    <a:pt x="3698" y="1168"/>
                    <a:pt x="3654" y="1124"/>
                  </a:cubicBezTo>
                  <a:cubicBezTo>
                    <a:pt x="3610" y="1080"/>
                    <a:pt x="3551" y="1056"/>
                    <a:pt x="3489" y="1056"/>
                  </a:cubicBezTo>
                  <a:cubicBezTo>
                    <a:pt x="3489" y="1056"/>
                    <a:pt x="3489" y="1056"/>
                    <a:pt x="3489" y="1056"/>
                  </a:cubicBezTo>
                  <a:cubicBezTo>
                    <a:pt x="3495" y="964"/>
                    <a:pt x="3499" y="916"/>
                    <a:pt x="3499" y="893"/>
                  </a:cubicBezTo>
                  <a:cubicBezTo>
                    <a:pt x="3502" y="871"/>
                    <a:pt x="3504" y="848"/>
                    <a:pt x="3504" y="823"/>
                  </a:cubicBezTo>
                  <a:cubicBezTo>
                    <a:pt x="3507" y="797"/>
                    <a:pt x="3509" y="770"/>
                    <a:pt x="3511" y="745"/>
                  </a:cubicBezTo>
                  <a:cubicBezTo>
                    <a:pt x="3513" y="721"/>
                    <a:pt x="3515" y="696"/>
                    <a:pt x="3517" y="671"/>
                  </a:cubicBezTo>
                  <a:cubicBezTo>
                    <a:pt x="3517" y="666"/>
                    <a:pt x="3517" y="666"/>
                    <a:pt x="3517" y="666"/>
                  </a:cubicBezTo>
                  <a:cubicBezTo>
                    <a:pt x="3517" y="662"/>
                    <a:pt x="3517" y="662"/>
                    <a:pt x="3517" y="662"/>
                  </a:cubicBezTo>
                  <a:cubicBezTo>
                    <a:pt x="3517" y="647"/>
                    <a:pt x="3517" y="647"/>
                    <a:pt x="3517" y="647"/>
                  </a:cubicBezTo>
                  <a:cubicBezTo>
                    <a:pt x="3520" y="610"/>
                    <a:pt x="3523" y="565"/>
                    <a:pt x="3520" y="513"/>
                  </a:cubicBezTo>
                  <a:cubicBezTo>
                    <a:pt x="3520" y="511"/>
                    <a:pt x="3520" y="511"/>
                    <a:pt x="3520" y="511"/>
                  </a:cubicBezTo>
                  <a:cubicBezTo>
                    <a:pt x="3520" y="510"/>
                    <a:pt x="3520" y="510"/>
                    <a:pt x="3520" y="510"/>
                  </a:cubicBezTo>
                  <a:cubicBezTo>
                    <a:pt x="3507" y="370"/>
                    <a:pt x="3443" y="241"/>
                    <a:pt x="3338" y="145"/>
                  </a:cubicBezTo>
                  <a:cubicBezTo>
                    <a:pt x="3337" y="145"/>
                    <a:pt x="3337" y="145"/>
                    <a:pt x="3337" y="145"/>
                  </a:cubicBezTo>
                  <a:cubicBezTo>
                    <a:pt x="3336" y="144"/>
                    <a:pt x="3336" y="144"/>
                    <a:pt x="3336" y="144"/>
                  </a:cubicBezTo>
                  <a:cubicBezTo>
                    <a:pt x="3231" y="51"/>
                    <a:pt x="3098" y="0"/>
                    <a:pt x="2961" y="0"/>
                  </a:cubicBezTo>
                  <a:close/>
                </a:path>
              </a:pathLst>
            </a:custGeom>
            <a:solidFill>
              <a:srgbClr val="E8E8E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7" name="Freeform 7"/>
            <p:cNvSpPr>
              <a:spLocks/>
            </p:cNvSpPr>
            <p:nvPr/>
          </p:nvSpPr>
          <p:spPr bwMode="auto">
            <a:xfrm>
              <a:off x="191" y="3688"/>
              <a:ext cx="465" cy="150"/>
            </a:xfrm>
            <a:custGeom>
              <a:avLst/>
              <a:gdLst>
                <a:gd name="T0" fmla="*/ 126 w 2823"/>
                <a:gd name="T1" fmla="*/ 654 h 900"/>
                <a:gd name="T2" fmla="*/ 141 w 2823"/>
                <a:gd name="T3" fmla="*/ 900 h 900"/>
                <a:gd name="T4" fmla="*/ 44 w 2823"/>
                <a:gd name="T5" fmla="*/ 900 h 900"/>
                <a:gd name="T6" fmla="*/ 36 w 2823"/>
                <a:gd name="T7" fmla="*/ 810 h 900"/>
                <a:gd name="T8" fmla="*/ 16 w 2823"/>
                <a:gd name="T9" fmla="*/ 500 h 900"/>
                <a:gd name="T10" fmla="*/ 3 w 2823"/>
                <a:gd name="T11" fmla="*/ 315 h 900"/>
                <a:gd name="T12" fmla="*/ 290 w 2823"/>
                <a:gd name="T13" fmla="*/ 3 h 900"/>
                <a:gd name="T14" fmla="*/ 321 w 2823"/>
                <a:gd name="T15" fmla="*/ 0 h 900"/>
                <a:gd name="T16" fmla="*/ 2510 w 2823"/>
                <a:gd name="T17" fmla="*/ 0 h 900"/>
                <a:gd name="T18" fmla="*/ 2820 w 2823"/>
                <a:gd name="T19" fmla="*/ 282 h 900"/>
                <a:gd name="T20" fmla="*/ 2817 w 2823"/>
                <a:gd name="T21" fmla="*/ 402 h 900"/>
                <a:gd name="T22" fmla="*/ 2802 w 2823"/>
                <a:gd name="T23" fmla="*/ 625 h 900"/>
                <a:gd name="T24" fmla="*/ 2782 w 2823"/>
                <a:gd name="T25" fmla="*/ 900 h 900"/>
                <a:gd name="T26" fmla="*/ 2682 w 2823"/>
                <a:gd name="T27" fmla="*/ 900 h 900"/>
                <a:gd name="T28" fmla="*/ 2699 w 2823"/>
                <a:gd name="T29" fmla="*/ 654 h 900"/>
                <a:gd name="T30" fmla="*/ 126 w 2823"/>
                <a:gd name="T31" fmla="*/ 654 h 9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23" h="900">
                  <a:moveTo>
                    <a:pt x="126" y="654"/>
                  </a:moveTo>
                  <a:cubicBezTo>
                    <a:pt x="131" y="736"/>
                    <a:pt x="136" y="818"/>
                    <a:pt x="141" y="900"/>
                  </a:cubicBezTo>
                  <a:cubicBezTo>
                    <a:pt x="108" y="900"/>
                    <a:pt x="77" y="900"/>
                    <a:pt x="44" y="900"/>
                  </a:cubicBezTo>
                  <a:cubicBezTo>
                    <a:pt x="41" y="872"/>
                    <a:pt x="39" y="841"/>
                    <a:pt x="36" y="810"/>
                  </a:cubicBezTo>
                  <a:cubicBezTo>
                    <a:pt x="28" y="707"/>
                    <a:pt x="21" y="602"/>
                    <a:pt x="16" y="500"/>
                  </a:cubicBezTo>
                  <a:cubicBezTo>
                    <a:pt x="10" y="438"/>
                    <a:pt x="3" y="377"/>
                    <a:pt x="3" y="315"/>
                  </a:cubicBezTo>
                  <a:cubicBezTo>
                    <a:pt x="0" y="151"/>
                    <a:pt x="126" y="15"/>
                    <a:pt x="290" y="3"/>
                  </a:cubicBezTo>
                  <a:cubicBezTo>
                    <a:pt x="300" y="0"/>
                    <a:pt x="310" y="0"/>
                    <a:pt x="321" y="0"/>
                  </a:cubicBezTo>
                  <a:cubicBezTo>
                    <a:pt x="1051" y="0"/>
                    <a:pt x="1779" y="0"/>
                    <a:pt x="2510" y="0"/>
                  </a:cubicBezTo>
                  <a:cubicBezTo>
                    <a:pt x="2669" y="0"/>
                    <a:pt x="2807" y="123"/>
                    <a:pt x="2820" y="282"/>
                  </a:cubicBezTo>
                  <a:cubicBezTo>
                    <a:pt x="2823" y="323"/>
                    <a:pt x="2820" y="364"/>
                    <a:pt x="2817" y="402"/>
                  </a:cubicBezTo>
                  <a:cubicBezTo>
                    <a:pt x="2812" y="477"/>
                    <a:pt x="2807" y="551"/>
                    <a:pt x="2802" y="625"/>
                  </a:cubicBezTo>
                  <a:cubicBezTo>
                    <a:pt x="2794" y="718"/>
                    <a:pt x="2787" y="807"/>
                    <a:pt x="2782" y="900"/>
                  </a:cubicBezTo>
                  <a:cubicBezTo>
                    <a:pt x="2748" y="900"/>
                    <a:pt x="2715" y="900"/>
                    <a:pt x="2682" y="900"/>
                  </a:cubicBezTo>
                  <a:cubicBezTo>
                    <a:pt x="2689" y="818"/>
                    <a:pt x="2694" y="736"/>
                    <a:pt x="2699" y="654"/>
                  </a:cubicBezTo>
                  <a:cubicBezTo>
                    <a:pt x="1841" y="654"/>
                    <a:pt x="985" y="654"/>
                    <a:pt x="126" y="654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8" name="Freeform 8"/>
            <p:cNvSpPr>
              <a:spLocks/>
            </p:cNvSpPr>
            <p:nvPr/>
          </p:nvSpPr>
          <p:spPr bwMode="auto">
            <a:xfrm>
              <a:off x="209" y="3990"/>
              <a:ext cx="430" cy="194"/>
            </a:xfrm>
            <a:custGeom>
              <a:avLst/>
              <a:gdLst>
                <a:gd name="T0" fmla="*/ 0 w 2605"/>
                <a:gd name="T1" fmla="*/ 0 h 1162"/>
                <a:gd name="T2" fmla="*/ 98 w 2605"/>
                <a:gd name="T3" fmla="*/ 0 h 1162"/>
                <a:gd name="T4" fmla="*/ 100 w 2605"/>
                <a:gd name="T5" fmla="*/ 46 h 1162"/>
                <a:gd name="T6" fmla="*/ 123 w 2605"/>
                <a:gd name="T7" fmla="*/ 357 h 1162"/>
                <a:gd name="T8" fmla="*/ 190 w 2605"/>
                <a:gd name="T9" fmla="*/ 544 h 1162"/>
                <a:gd name="T10" fmla="*/ 364 w 2605"/>
                <a:gd name="T11" fmla="*/ 710 h 1162"/>
                <a:gd name="T12" fmla="*/ 521 w 2605"/>
                <a:gd name="T13" fmla="*/ 780 h 1162"/>
                <a:gd name="T14" fmla="*/ 1054 w 2605"/>
                <a:gd name="T15" fmla="*/ 1013 h 1162"/>
                <a:gd name="T16" fmla="*/ 1223 w 2605"/>
                <a:gd name="T17" fmla="*/ 1054 h 1162"/>
                <a:gd name="T18" fmla="*/ 1485 w 2605"/>
                <a:gd name="T19" fmla="*/ 1036 h 1162"/>
                <a:gd name="T20" fmla="*/ 1610 w 2605"/>
                <a:gd name="T21" fmla="*/ 987 h 1162"/>
                <a:gd name="T22" fmla="*/ 2220 w 2605"/>
                <a:gd name="T23" fmla="*/ 721 h 1162"/>
                <a:gd name="T24" fmla="*/ 2387 w 2605"/>
                <a:gd name="T25" fmla="*/ 585 h 1162"/>
                <a:gd name="T26" fmla="*/ 2477 w 2605"/>
                <a:gd name="T27" fmla="*/ 393 h 1162"/>
                <a:gd name="T28" fmla="*/ 2487 w 2605"/>
                <a:gd name="T29" fmla="*/ 287 h 1162"/>
                <a:gd name="T30" fmla="*/ 2505 w 2605"/>
                <a:gd name="T31" fmla="*/ 8 h 1162"/>
                <a:gd name="T32" fmla="*/ 2507 w 2605"/>
                <a:gd name="T33" fmla="*/ 0 h 1162"/>
                <a:gd name="T34" fmla="*/ 2605 w 2605"/>
                <a:gd name="T35" fmla="*/ 0 h 1162"/>
                <a:gd name="T36" fmla="*/ 2600 w 2605"/>
                <a:gd name="T37" fmla="*/ 75 h 1162"/>
                <a:gd name="T38" fmla="*/ 2582 w 2605"/>
                <a:gd name="T39" fmla="*/ 328 h 1162"/>
                <a:gd name="T40" fmla="*/ 2300 w 2605"/>
                <a:gd name="T41" fmla="*/ 790 h 1162"/>
                <a:gd name="T42" fmla="*/ 2159 w 2605"/>
                <a:gd name="T43" fmla="*/ 854 h 1162"/>
                <a:gd name="T44" fmla="*/ 1587 w 2605"/>
                <a:gd name="T45" fmla="*/ 1105 h 1162"/>
                <a:gd name="T46" fmla="*/ 1395 w 2605"/>
                <a:gd name="T47" fmla="*/ 1151 h 1162"/>
                <a:gd name="T48" fmla="*/ 1105 w 2605"/>
                <a:gd name="T49" fmla="*/ 1133 h 1162"/>
                <a:gd name="T50" fmla="*/ 967 w 2605"/>
                <a:gd name="T51" fmla="*/ 1082 h 1162"/>
                <a:gd name="T52" fmla="*/ 344 w 2605"/>
                <a:gd name="T53" fmla="*/ 810 h 1162"/>
                <a:gd name="T54" fmla="*/ 144 w 2605"/>
                <a:gd name="T55" fmla="*/ 651 h 1162"/>
                <a:gd name="T56" fmla="*/ 31 w 2605"/>
                <a:gd name="T57" fmla="*/ 405 h 1162"/>
                <a:gd name="T58" fmla="*/ 18 w 2605"/>
                <a:gd name="T59" fmla="*/ 280 h 1162"/>
                <a:gd name="T60" fmla="*/ 0 w 2605"/>
                <a:gd name="T61" fmla="*/ 18 h 1162"/>
                <a:gd name="T62" fmla="*/ 0 w 2605"/>
                <a:gd name="T63" fmla="*/ 0 h 11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2605" h="1162">
                  <a:moveTo>
                    <a:pt x="0" y="0"/>
                  </a:moveTo>
                  <a:cubicBezTo>
                    <a:pt x="34" y="0"/>
                    <a:pt x="64" y="0"/>
                    <a:pt x="98" y="0"/>
                  </a:cubicBezTo>
                  <a:cubicBezTo>
                    <a:pt x="98" y="16"/>
                    <a:pt x="100" y="31"/>
                    <a:pt x="100" y="46"/>
                  </a:cubicBezTo>
                  <a:cubicBezTo>
                    <a:pt x="108" y="149"/>
                    <a:pt x="116" y="254"/>
                    <a:pt x="123" y="357"/>
                  </a:cubicBezTo>
                  <a:cubicBezTo>
                    <a:pt x="129" y="426"/>
                    <a:pt x="154" y="487"/>
                    <a:pt x="190" y="544"/>
                  </a:cubicBezTo>
                  <a:cubicBezTo>
                    <a:pt x="234" y="613"/>
                    <a:pt x="290" y="672"/>
                    <a:pt x="364" y="710"/>
                  </a:cubicBezTo>
                  <a:cubicBezTo>
                    <a:pt x="416" y="736"/>
                    <a:pt x="470" y="757"/>
                    <a:pt x="521" y="780"/>
                  </a:cubicBezTo>
                  <a:cubicBezTo>
                    <a:pt x="700" y="857"/>
                    <a:pt x="877" y="936"/>
                    <a:pt x="1054" y="1013"/>
                  </a:cubicBezTo>
                  <a:cubicBezTo>
                    <a:pt x="1108" y="1036"/>
                    <a:pt x="1164" y="1049"/>
                    <a:pt x="1223" y="1054"/>
                  </a:cubicBezTo>
                  <a:cubicBezTo>
                    <a:pt x="1310" y="1062"/>
                    <a:pt x="1400" y="1059"/>
                    <a:pt x="1485" y="1036"/>
                  </a:cubicBezTo>
                  <a:cubicBezTo>
                    <a:pt x="1528" y="1023"/>
                    <a:pt x="1569" y="1005"/>
                    <a:pt x="1610" y="987"/>
                  </a:cubicBezTo>
                  <a:cubicBezTo>
                    <a:pt x="1813" y="898"/>
                    <a:pt x="2018" y="808"/>
                    <a:pt x="2220" y="721"/>
                  </a:cubicBezTo>
                  <a:cubicBezTo>
                    <a:pt x="2287" y="690"/>
                    <a:pt x="2341" y="641"/>
                    <a:pt x="2387" y="585"/>
                  </a:cubicBezTo>
                  <a:cubicBezTo>
                    <a:pt x="2431" y="526"/>
                    <a:pt x="2464" y="464"/>
                    <a:pt x="2477" y="393"/>
                  </a:cubicBezTo>
                  <a:cubicBezTo>
                    <a:pt x="2482" y="357"/>
                    <a:pt x="2484" y="321"/>
                    <a:pt x="2487" y="287"/>
                  </a:cubicBezTo>
                  <a:cubicBezTo>
                    <a:pt x="2492" y="193"/>
                    <a:pt x="2500" y="100"/>
                    <a:pt x="2505" y="8"/>
                  </a:cubicBezTo>
                  <a:cubicBezTo>
                    <a:pt x="2505" y="5"/>
                    <a:pt x="2507" y="3"/>
                    <a:pt x="2507" y="0"/>
                  </a:cubicBezTo>
                  <a:cubicBezTo>
                    <a:pt x="2541" y="0"/>
                    <a:pt x="2572" y="0"/>
                    <a:pt x="2605" y="0"/>
                  </a:cubicBezTo>
                  <a:cubicBezTo>
                    <a:pt x="2605" y="26"/>
                    <a:pt x="2602" y="52"/>
                    <a:pt x="2600" y="75"/>
                  </a:cubicBezTo>
                  <a:cubicBezTo>
                    <a:pt x="2595" y="159"/>
                    <a:pt x="2584" y="244"/>
                    <a:pt x="2582" y="328"/>
                  </a:cubicBezTo>
                  <a:cubicBezTo>
                    <a:pt x="2577" y="541"/>
                    <a:pt x="2428" y="723"/>
                    <a:pt x="2300" y="790"/>
                  </a:cubicBezTo>
                  <a:cubicBezTo>
                    <a:pt x="2254" y="816"/>
                    <a:pt x="2205" y="833"/>
                    <a:pt x="2159" y="854"/>
                  </a:cubicBezTo>
                  <a:cubicBezTo>
                    <a:pt x="1967" y="939"/>
                    <a:pt x="1777" y="1021"/>
                    <a:pt x="1587" y="1105"/>
                  </a:cubicBezTo>
                  <a:cubicBezTo>
                    <a:pt x="1526" y="1131"/>
                    <a:pt x="1459" y="1146"/>
                    <a:pt x="1395" y="1151"/>
                  </a:cubicBezTo>
                  <a:cubicBezTo>
                    <a:pt x="1297" y="1162"/>
                    <a:pt x="1200" y="1156"/>
                    <a:pt x="1105" y="1133"/>
                  </a:cubicBezTo>
                  <a:cubicBezTo>
                    <a:pt x="1057" y="1123"/>
                    <a:pt x="1013" y="1103"/>
                    <a:pt x="967" y="1082"/>
                  </a:cubicBezTo>
                  <a:cubicBezTo>
                    <a:pt x="759" y="992"/>
                    <a:pt x="552" y="900"/>
                    <a:pt x="344" y="810"/>
                  </a:cubicBezTo>
                  <a:cubicBezTo>
                    <a:pt x="264" y="774"/>
                    <a:pt x="198" y="721"/>
                    <a:pt x="144" y="651"/>
                  </a:cubicBezTo>
                  <a:cubicBezTo>
                    <a:pt x="88" y="577"/>
                    <a:pt x="47" y="498"/>
                    <a:pt x="31" y="405"/>
                  </a:cubicBezTo>
                  <a:cubicBezTo>
                    <a:pt x="23" y="364"/>
                    <a:pt x="23" y="321"/>
                    <a:pt x="18" y="280"/>
                  </a:cubicBezTo>
                  <a:cubicBezTo>
                    <a:pt x="13" y="193"/>
                    <a:pt x="6" y="105"/>
                    <a:pt x="0" y="18"/>
                  </a:cubicBezTo>
                  <a:cubicBezTo>
                    <a:pt x="0" y="13"/>
                    <a:pt x="0" y="8"/>
                    <a:pt x="0" y="0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9" name="Freeform 9"/>
            <p:cNvSpPr>
              <a:spLocks/>
            </p:cNvSpPr>
            <p:nvPr/>
          </p:nvSpPr>
          <p:spPr bwMode="auto">
            <a:xfrm>
              <a:off x="233" y="3875"/>
              <a:ext cx="90" cy="82"/>
            </a:xfrm>
            <a:custGeom>
              <a:avLst/>
              <a:gdLst>
                <a:gd name="T0" fmla="*/ 369 w 543"/>
                <a:gd name="T1" fmla="*/ 0 h 492"/>
                <a:gd name="T2" fmla="*/ 518 w 543"/>
                <a:gd name="T3" fmla="*/ 0 h 492"/>
                <a:gd name="T4" fmla="*/ 543 w 543"/>
                <a:gd name="T5" fmla="*/ 492 h 492"/>
                <a:gd name="T6" fmla="*/ 433 w 543"/>
                <a:gd name="T7" fmla="*/ 492 h 492"/>
                <a:gd name="T8" fmla="*/ 420 w 543"/>
                <a:gd name="T9" fmla="*/ 110 h 492"/>
                <a:gd name="T10" fmla="*/ 418 w 543"/>
                <a:gd name="T11" fmla="*/ 118 h 492"/>
                <a:gd name="T12" fmla="*/ 308 w 543"/>
                <a:gd name="T13" fmla="*/ 477 h 492"/>
                <a:gd name="T14" fmla="*/ 300 w 543"/>
                <a:gd name="T15" fmla="*/ 484 h 492"/>
                <a:gd name="T16" fmla="*/ 218 w 543"/>
                <a:gd name="T17" fmla="*/ 484 h 492"/>
                <a:gd name="T18" fmla="*/ 120 w 543"/>
                <a:gd name="T19" fmla="*/ 107 h 492"/>
                <a:gd name="T20" fmla="*/ 105 w 543"/>
                <a:gd name="T21" fmla="*/ 492 h 492"/>
                <a:gd name="T22" fmla="*/ 0 w 543"/>
                <a:gd name="T23" fmla="*/ 492 h 492"/>
                <a:gd name="T24" fmla="*/ 31 w 543"/>
                <a:gd name="T25" fmla="*/ 0 h 492"/>
                <a:gd name="T26" fmla="*/ 179 w 543"/>
                <a:gd name="T27" fmla="*/ 0 h 492"/>
                <a:gd name="T28" fmla="*/ 228 w 543"/>
                <a:gd name="T29" fmla="*/ 169 h 492"/>
                <a:gd name="T30" fmla="*/ 269 w 543"/>
                <a:gd name="T31" fmla="*/ 336 h 492"/>
                <a:gd name="T32" fmla="*/ 369 w 543"/>
                <a:gd name="T33" fmla="*/ 0 h 4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543" h="492">
                  <a:moveTo>
                    <a:pt x="369" y="0"/>
                  </a:moveTo>
                  <a:cubicBezTo>
                    <a:pt x="420" y="0"/>
                    <a:pt x="466" y="0"/>
                    <a:pt x="518" y="0"/>
                  </a:cubicBezTo>
                  <a:cubicBezTo>
                    <a:pt x="525" y="164"/>
                    <a:pt x="536" y="328"/>
                    <a:pt x="543" y="492"/>
                  </a:cubicBezTo>
                  <a:cubicBezTo>
                    <a:pt x="508" y="492"/>
                    <a:pt x="472" y="492"/>
                    <a:pt x="433" y="492"/>
                  </a:cubicBezTo>
                  <a:cubicBezTo>
                    <a:pt x="431" y="364"/>
                    <a:pt x="425" y="238"/>
                    <a:pt x="420" y="110"/>
                  </a:cubicBezTo>
                  <a:cubicBezTo>
                    <a:pt x="420" y="113"/>
                    <a:pt x="418" y="115"/>
                    <a:pt x="418" y="118"/>
                  </a:cubicBezTo>
                  <a:cubicBezTo>
                    <a:pt x="382" y="238"/>
                    <a:pt x="346" y="359"/>
                    <a:pt x="308" y="477"/>
                  </a:cubicBezTo>
                  <a:cubicBezTo>
                    <a:pt x="308" y="482"/>
                    <a:pt x="305" y="487"/>
                    <a:pt x="300" y="484"/>
                  </a:cubicBezTo>
                  <a:cubicBezTo>
                    <a:pt x="274" y="484"/>
                    <a:pt x="246" y="484"/>
                    <a:pt x="218" y="484"/>
                  </a:cubicBezTo>
                  <a:cubicBezTo>
                    <a:pt x="185" y="359"/>
                    <a:pt x="146" y="236"/>
                    <a:pt x="120" y="107"/>
                  </a:cubicBezTo>
                  <a:cubicBezTo>
                    <a:pt x="115" y="236"/>
                    <a:pt x="110" y="364"/>
                    <a:pt x="105" y="492"/>
                  </a:cubicBezTo>
                  <a:cubicBezTo>
                    <a:pt x="69" y="492"/>
                    <a:pt x="36" y="492"/>
                    <a:pt x="0" y="492"/>
                  </a:cubicBezTo>
                  <a:cubicBezTo>
                    <a:pt x="10" y="328"/>
                    <a:pt x="20" y="164"/>
                    <a:pt x="31" y="0"/>
                  </a:cubicBezTo>
                  <a:cubicBezTo>
                    <a:pt x="82" y="0"/>
                    <a:pt x="131" y="0"/>
                    <a:pt x="179" y="0"/>
                  </a:cubicBezTo>
                  <a:cubicBezTo>
                    <a:pt x="197" y="56"/>
                    <a:pt x="213" y="113"/>
                    <a:pt x="228" y="169"/>
                  </a:cubicBezTo>
                  <a:cubicBezTo>
                    <a:pt x="243" y="225"/>
                    <a:pt x="256" y="282"/>
                    <a:pt x="269" y="336"/>
                  </a:cubicBezTo>
                  <a:cubicBezTo>
                    <a:pt x="302" y="225"/>
                    <a:pt x="336" y="113"/>
                    <a:pt x="369" y="0"/>
                  </a:cubicBezTo>
                  <a:close/>
                </a:path>
              </a:pathLst>
            </a:custGeom>
            <a:solidFill>
              <a:srgbClr val="EC1D2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0" name="Freeform 10"/>
            <p:cNvSpPr>
              <a:spLocks/>
            </p:cNvSpPr>
            <p:nvPr/>
          </p:nvSpPr>
          <p:spPr bwMode="auto">
            <a:xfrm>
              <a:off x="623" y="3875"/>
              <a:ext cx="67" cy="82"/>
            </a:xfrm>
            <a:custGeom>
              <a:avLst/>
              <a:gdLst>
                <a:gd name="T0" fmla="*/ 0 w 407"/>
                <a:gd name="T1" fmla="*/ 0 h 495"/>
                <a:gd name="T2" fmla="*/ 107 w 407"/>
                <a:gd name="T3" fmla="*/ 0 h 495"/>
                <a:gd name="T4" fmla="*/ 141 w 407"/>
                <a:gd name="T5" fmla="*/ 20 h 495"/>
                <a:gd name="T6" fmla="*/ 266 w 407"/>
                <a:gd name="T7" fmla="*/ 246 h 495"/>
                <a:gd name="T8" fmla="*/ 307 w 407"/>
                <a:gd name="T9" fmla="*/ 333 h 495"/>
                <a:gd name="T10" fmla="*/ 312 w 407"/>
                <a:gd name="T11" fmla="*/ 343 h 495"/>
                <a:gd name="T12" fmla="*/ 305 w 407"/>
                <a:gd name="T13" fmla="*/ 0 h 495"/>
                <a:gd name="T14" fmla="*/ 407 w 407"/>
                <a:gd name="T15" fmla="*/ 0 h 495"/>
                <a:gd name="T16" fmla="*/ 407 w 407"/>
                <a:gd name="T17" fmla="*/ 492 h 495"/>
                <a:gd name="T18" fmla="*/ 402 w 407"/>
                <a:gd name="T19" fmla="*/ 495 h 495"/>
                <a:gd name="T20" fmla="*/ 300 w 407"/>
                <a:gd name="T21" fmla="*/ 492 h 495"/>
                <a:gd name="T22" fmla="*/ 287 w 407"/>
                <a:gd name="T23" fmla="*/ 487 h 495"/>
                <a:gd name="T24" fmla="*/ 135 w 407"/>
                <a:gd name="T25" fmla="*/ 207 h 495"/>
                <a:gd name="T26" fmla="*/ 100 w 407"/>
                <a:gd name="T27" fmla="*/ 130 h 495"/>
                <a:gd name="T28" fmla="*/ 105 w 407"/>
                <a:gd name="T29" fmla="*/ 492 h 495"/>
                <a:gd name="T30" fmla="*/ 0 w 407"/>
                <a:gd name="T31" fmla="*/ 492 h 495"/>
                <a:gd name="T32" fmla="*/ 0 w 407"/>
                <a:gd name="T33" fmla="*/ 0 h 4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407" h="495">
                  <a:moveTo>
                    <a:pt x="0" y="0"/>
                  </a:moveTo>
                  <a:cubicBezTo>
                    <a:pt x="35" y="0"/>
                    <a:pt x="71" y="2"/>
                    <a:pt x="107" y="0"/>
                  </a:cubicBezTo>
                  <a:cubicBezTo>
                    <a:pt x="125" y="0"/>
                    <a:pt x="133" y="5"/>
                    <a:pt x="141" y="20"/>
                  </a:cubicBezTo>
                  <a:cubicBezTo>
                    <a:pt x="182" y="95"/>
                    <a:pt x="225" y="169"/>
                    <a:pt x="266" y="246"/>
                  </a:cubicBezTo>
                  <a:cubicBezTo>
                    <a:pt x="282" y="274"/>
                    <a:pt x="292" y="305"/>
                    <a:pt x="307" y="333"/>
                  </a:cubicBezTo>
                  <a:cubicBezTo>
                    <a:pt x="307" y="338"/>
                    <a:pt x="310" y="341"/>
                    <a:pt x="312" y="343"/>
                  </a:cubicBezTo>
                  <a:cubicBezTo>
                    <a:pt x="302" y="230"/>
                    <a:pt x="305" y="115"/>
                    <a:pt x="305" y="0"/>
                  </a:cubicBezTo>
                  <a:cubicBezTo>
                    <a:pt x="341" y="0"/>
                    <a:pt x="374" y="0"/>
                    <a:pt x="407" y="0"/>
                  </a:cubicBezTo>
                  <a:cubicBezTo>
                    <a:pt x="407" y="164"/>
                    <a:pt x="407" y="328"/>
                    <a:pt x="407" y="492"/>
                  </a:cubicBezTo>
                  <a:cubicBezTo>
                    <a:pt x="405" y="492"/>
                    <a:pt x="402" y="495"/>
                    <a:pt x="402" y="495"/>
                  </a:cubicBezTo>
                  <a:cubicBezTo>
                    <a:pt x="366" y="495"/>
                    <a:pt x="333" y="495"/>
                    <a:pt x="300" y="492"/>
                  </a:cubicBezTo>
                  <a:cubicBezTo>
                    <a:pt x="294" y="492"/>
                    <a:pt x="289" y="489"/>
                    <a:pt x="287" y="487"/>
                  </a:cubicBezTo>
                  <a:cubicBezTo>
                    <a:pt x="235" y="395"/>
                    <a:pt x="184" y="300"/>
                    <a:pt x="135" y="207"/>
                  </a:cubicBezTo>
                  <a:cubicBezTo>
                    <a:pt x="123" y="182"/>
                    <a:pt x="112" y="156"/>
                    <a:pt x="100" y="130"/>
                  </a:cubicBezTo>
                  <a:cubicBezTo>
                    <a:pt x="102" y="251"/>
                    <a:pt x="102" y="371"/>
                    <a:pt x="105" y="492"/>
                  </a:cubicBezTo>
                  <a:cubicBezTo>
                    <a:pt x="69" y="492"/>
                    <a:pt x="35" y="492"/>
                    <a:pt x="0" y="492"/>
                  </a:cubicBezTo>
                  <a:cubicBezTo>
                    <a:pt x="0" y="328"/>
                    <a:pt x="0" y="166"/>
                    <a:pt x="0" y="0"/>
                  </a:cubicBezTo>
                  <a:close/>
                </a:path>
              </a:pathLst>
            </a:custGeom>
            <a:solidFill>
              <a:srgbClr val="EC1D2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1" name="Freeform 11"/>
            <p:cNvSpPr>
              <a:spLocks noEditPoints="1"/>
            </p:cNvSpPr>
            <p:nvPr/>
          </p:nvSpPr>
          <p:spPr bwMode="auto">
            <a:xfrm>
              <a:off x="391" y="3874"/>
              <a:ext cx="61" cy="83"/>
            </a:xfrm>
            <a:custGeom>
              <a:avLst/>
              <a:gdLst>
                <a:gd name="T0" fmla="*/ 108 w 372"/>
                <a:gd name="T1" fmla="*/ 305 h 500"/>
                <a:gd name="T2" fmla="*/ 108 w 372"/>
                <a:gd name="T3" fmla="*/ 497 h 500"/>
                <a:gd name="T4" fmla="*/ 0 w 372"/>
                <a:gd name="T5" fmla="*/ 497 h 500"/>
                <a:gd name="T6" fmla="*/ 0 w 372"/>
                <a:gd name="T7" fmla="*/ 12 h 500"/>
                <a:gd name="T8" fmla="*/ 87 w 372"/>
                <a:gd name="T9" fmla="*/ 5 h 500"/>
                <a:gd name="T10" fmla="*/ 228 w 372"/>
                <a:gd name="T11" fmla="*/ 7 h 500"/>
                <a:gd name="T12" fmla="*/ 321 w 372"/>
                <a:gd name="T13" fmla="*/ 53 h 500"/>
                <a:gd name="T14" fmla="*/ 277 w 372"/>
                <a:gd name="T15" fmla="*/ 261 h 500"/>
                <a:gd name="T16" fmla="*/ 267 w 372"/>
                <a:gd name="T17" fmla="*/ 266 h 500"/>
                <a:gd name="T18" fmla="*/ 269 w 372"/>
                <a:gd name="T19" fmla="*/ 269 h 500"/>
                <a:gd name="T20" fmla="*/ 321 w 372"/>
                <a:gd name="T21" fmla="*/ 325 h 500"/>
                <a:gd name="T22" fmla="*/ 349 w 372"/>
                <a:gd name="T23" fmla="*/ 425 h 500"/>
                <a:gd name="T24" fmla="*/ 369 w 372"/>
                <a:gd name="T25" fmla="*/ 497 h 500"/>
                <a:gd name="T26" fmla="*/ 362 w 372"/>
                <a:gd name="T27" fmla="*/ 500 h 500"/>
                <a:gd name="T28" fmla="*/ 264 w 372"/>
                <a:gd name="T29" fmla="*/ 500 h 500"/>
                <a:gd name="T30" fmla="*/ 251 w 372"/>
                <a:gd name="T31" fmla="*/ 489 h 500"/>
                <a:gd name="T32" fmla="*/ 221 w 372"/>
                <a:gd name="T33" fmla="*/ 382 h 500"/>
                <a:gd name="T34" fmla="*/ 210 w 372"/>
                <a:gd name="T35" fmla="*/ 348 h 500"/>
                <a:gd name="T36" fmla="*/ 154 w 372"/>
                <a:gd name="T37" fmla="*/ 305 h 500"/>
                <a:gd name="T38" fmla="*/ 108 w 372"/>
                <a:gd name="T39" fmla="*/ 305 h 500"/>
                <a:gd name="T40" fmla="*/ 110 w 372"/>
                <a:gd name="T41" fmla="*/ 223 h 500"/>
                <a:gd name="T42" fmla="*/ 162 w 372"/>
                <a:gd name="T43" fmla="*/ 223 h 500"/>
                <a:gd name="T44" fmla="*/ 215 w 372"/>
                <a:gd name="T45" fmla="*/ 205 h 500"/>
                <a:gd name="T46" fmla="*/ 210 w 372"/>
                <a:gd name="T47" fmla="*/ 97 h 500"/>
                <a:gd name="T48" fmla="*/ 110 w 372"/>
                <a:gd name="T49" fmla="*/ 89 h 500"/>
                <a:gd name="T50" fmla="*/ 110 w 372"/>
                <a:gd name="T51" fmla="*/ 223 h 5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372" h="500">
                  <a:moveTo>
                    <a:pt x="108" y="305"/>
                  </a:moveTo>
                  <a:cubicBezTo>
                    <a:pt x="108" y="369"/>
                    <a:pt x="108" y="433"/>
                    <a:pt x="108" y="497"/>
                  </a:cubicBezTo>
                  <a:cubicBezTo>
                    <a:pt x="72" y="497"/>
                    <a:pt x="36" y="497"/>
                    <a:pt x="0" y="497"/>
                  </a:cubicBezTo>
                  <a:cubicBezTo>
                    <a:pt x="0" y="335"/>
                    <a:pt x="0" y="174"/>
                    <a:pt x="0" y="12"/>
                  </a:cubicBezTo>
                  <a:cubicBezTo>
                    <a:pt x="28" y="10"/>
                    <a:pt x="57" y="5"/>
                    <a:pt x="87" y="5"/>
                  </a:cubicBezTo>
                  <a:cubicBezTo>
                    <a:pt x="133" y="0"/>
                    <a:pt x="180" y="0"/>
                    <a:pt x="228" y="7"/>
                  </a:cubicBezTo>
                  <a:cubicBezTo>
                    <a:pt x="262" y="15"/>
                    <a:pt x="295" y="28"/>
                    <a:pt x="321" y="53"/>
                  </a:cubicBezTo>
                  <a:cubicBezTo>
                    <a:pt x="367" y="102"/>
                    <a:pt x="372" y="215"/>
                    <a:pt x="277" y="261"/>
                  </a:cubicBezTo>
                  <a:cubicBezTo>
                    <a:pt x="274" y="261"/>
                    <a:pt x="269" y="264"/>
                    <a:pt x="267" y="266"/>
                  </a:cubicBezTo>
                  <a:cubicBezTo>
                    <a:pt x="267" y="266"/>
                    <a:pt x="267" y="269"/>
                    <a:pt x="269" y="269"/>
                  </a:cubicBezTo>
                  <a:cubicBezTo>
                    <a:pt x="295" y="279"/>
                    <a:pt x="310" y="300"/>
                    <a:pt x="321" y="325"/>
                  </a:cubicBezTo>
                  <a:cubicBezTo>
                    <a:pt x="331" y="359"/>
                    <a:pt x="338" y="392"/>
                    <a:pt x="349" y="425"/>
                  </a:cubicBezTo>
                  <a:cubicBezTo>
                    <a:pt x="356" y="448"/>
                    <a:pt x="362" y="471"/>
                    <a:pt x="369" y="497"/>
                  </a:cubicBezTo>
                  <a:cubicBezTo>
                    <a:pt x="367" y="497"/>
                    <a:pt x="364" y="500"/>
                    <a:pt x="362" y="500"/>
                  </a:cubicBezTo>
                  <a:cubicBezTo>
                    <a:pt x="328" y="500"/>
                    <a:pt x="297" y="497"/>
                    <a:pt x="264" y="500"/>
                  </a:cubicBezTo>
                  <a:cubicBezTo>
                    <a:pt x="256" y="500"/>
                    <a:pt x="254" y="497"/>
                    <a:pt x="251" y="489"/>
                  </a:cubicBezTo>
                  <a:cubicBezTo>
                    <a:pt x="241" y="453"/>
                    <a:pt x="231" y="417"/>
                    <a:pt x="221" y="382"/>
                  </a:cubicBezTo>
                  <a:cubicBezTo>
                    <a:pt x="218" y="369"/>
                    <a:pt x="215" y="359"/>
                    <a:pt x="210" y="348"/>
                  </a:cubicBezTo>
                  <a:cubicBezTo>
                    <a:pt x="203" y="323"/>
                    <a:pt x="182" y="307"/>
                    <a:pt x="154" y="305"/>
                  </a:cubicBezTo>
                  <a:cubicBezTo>
                    <a:pt x="139" y="305"/>
                    <a:pt x="126" y="305"/>
                    <a:pt x="108" y="305"/>
                  </a:cubicBezTo>
                  <a:close/>
                  <a:moveTo>
                    <a:pt x="110" y="223"/>
                  </a:moveTo>
                  <a:cubicBezTo>
                    <a:pt x="128" y="223"/>
                    <a:pt x="146" y="225"/>
                    <a:pt x="162" y="223"/>
                  </a:cubicBezTo>
                  <a:cubicBezTo>
                    <a:pt x="182" y="223"/>
                    <a:pt x="200" y="218"/>
                    <a:pt x="215" y="205"/>
                  </a:cubicBezTo>
                  <a:cubicBezTo>
                    <a:pt x="251" y="179"/>
                    <a:pt x="249" y="118"/>
                    <a:pt x="210" y="97"/>
                  </a:cubicBezTo>
                  <a:cubicBezTo>
                    <a:pt x="177" y="79"/>
                    <a:pt x="144" y="87"/>
                    <a:pt x="110" y="89"/>
                  </a:cubicBezTo>
                  <a:cubicBezTo>
                    <a:pt x="110" y="135"/>
                    <a:pt x="110" y="179"/>
                    <a:pt x="110" y="223"/>
                  </a:cubicBezTo>
                  <a:close/>
                </a:path>
              </a:pathLst>
            </a:custGeom>
            <a:solidFill>
              <a:srgbClr val="EC1D2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2" name="Freeform 12"/>
            <p:cNvSpPr>
              <a:spLocks noEditPoints="1"/>
            </p:cNvSpPr>
            <p:nvPr/>
          </p:nvSpPr>
          <p:spPr bwMode="auto">
            <a:xfrm>
              <a:off x="156" y="3875"/>
              <a:ext cx="74" cy="82"/>
            </a:xfrm>
            <a:custGeom>
              <a:avLst/>
              <a:gdLst>
                <a:gd name="T0" fmla="*/ 293 w 449"/>
                <a:gd name="T1" fmla="*/ 366 h 495"/>
                <a:gd name="T2" fmla="*/ 229 w 449"/>
                <a:gd name="T3" fmla="*/ 366 h 495"/>
                <a:gd name="T4" fmla="*/ 162 w 449"/>
                <a:gd name="T5" fmla="*/ 366 h 495"/>
                <a:gd name="T6" fmla="*/ 147 w 449"/>
                <a:gd name="T7" fmla="*/ 379 h 495"/>
                <a:gd name="T8" fmla="*/ 118 w 449"/>
                <a:gd name="T9" fmla="*/ 484 h 495"/>
                <a:gd name="T10" fmla="*/ 108 w 449"/>
                <a:gd name="T11" fmla="*/ 495 h 495"/>
                <a:gd name="T12" fmla="*/ 8 w 449"/>
                <a:gd name="T13" fmla="*/ 495 h 495"/>
                <a:gd name="T14" fmla="*/ 0 w 449"/>
                <a:gd name="T15" fmla="*/ 492 h 495"/>
                <a:gd name="T16" fmla="*/ 26 w 449"/>
                <a:gd name="T17" fmla="*/ 410 h 495"/>
                <a:gd name="T18" fmla="*/ 147 w 449"/>
                <a:gd name="T19" fmla="*/ 10 h 495"/>
                <a:gd name="T20" fmla="*/ 162 w 449"/>
                <a:gd name="T21" fmla="*/ 0 h 495"/>
                <a:gd name="T22" fmla="*/ 298 w 449"/>
                <a:gd name="T23" fmla="*/ 0 h 495"/>
                <a:gd name="T24" fmla="*/ 449 w 449"/>
                <a:gd name="T25" fmla="*/ 492 h 495"/>
                <a:gd name="T26" fmla="*/ 439 w 449"/>
                <a:gd name="T27" fmla="*/ 495 h 495"/>
                <a:gd name="T28" fmla="*/ 341 w 449"/>
                <a:gd name="T29" fmla="*/ 495 h 495"/>
                <a:gd name="T30" fmla="*/ 326 w 449"/>
                <a:gd name="T31" fmla="*/ 482 h 495"/>
                <a:gd name="T32" fmla="*/ 293 w 449"/>
                <a:gd name="T33" fmla="*/ 366 h 495"/>
                <a:gd name="T34" fmla="*/ 170 w 449"/>
                <a:gd name="T35" fmla="*/ 282 h 495"/>
                <a:gd name="T36" fmla="*/ 275 w 449"/>
                <a:gd name="T37" fmla="*/ 282 h 495"/>
                <a:gd name="T38" fmla="*/ 221 w 449"/>
                <a:gd name="T39" fmla="*/ 87 h 495"/>
                <a:gd name="T40" fmla="*/ 170 w 449"/>
                <a:gd name="T41" fmla="*/ 282 h 4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49" h="495">
                  <a:moveTo>
                    <a:pt x="293" y="366"/>
                  </a:moveTo>
                  <a:cubicBezTo>
                    <a:pt x="270" y="366"/>
                    <a:pt x="249" y="366"/>
                    <a:pt x="229" y="366"/>
                  </a:cubicBezTo>
                  <a:cubicBezTo>
                    <a:pt x="205" y="366"/>
                    <a:pt x="185" y="366"/>
                    <a:pt x="162" y="366"/>
                  </a:cubicBezTo>
                  <a:cubicBezTo>
                    <a:pt x="152" y="366"/>
                    <a:pt x="149" y="369"/>
                    <a:pt x="147" y="379"/>
                  </a:cubicBezTo>
                  <a:cubicBezTo>
                    <a:pt x="139" y="412"/>
                    <a:pt x="129" y="448"/>
                    <a:pt x="118" y="484"/>
                  </a:cubicBezTo>
                  <a:cubicBezTo>
                    <a:pt x="118" y="492"/>
                    <a:pt x="116" y="495"/>
                    <a:pt x="108" y="495"/>
                  </a:cubicBezTo>
                  <a:cubicBezTo>
                    <a:pt x="75" y="492"/>
                    <a:pt x="41" y="495"/>
                    <a:pt x="8" y="495"/>
                  </a:cubicBezTo>
                  <a:cubicBezTo>
                    <a:pt x="6" y="495"/>
                    <a:pt x="3" y="492"/>
                    <a:pt x="0" y="492"/>
                  </a:cubicBezTo>
                  <a:cubicBezTo>
                    <a:pt x="8" y="464"/>
                    <a:pt x="18" y="438"/>
                    <a:pt x="26" y="410"/>
                  </a:cubicBezTo>
                  <a:cubicBezTo>
                    <a:pt x="67" y="277"/>
                    <a:pt x="108" y="143"/>
                    <a:pt x="147" y="10"/>
                  </a:cubicBezTo>
                  <a:cubicBezTo>
                    <a:pt x="149" y="2"/>
                    <a:pt x="154" y="0"/>
                    <a:pt x="162" y="0"/>
                  </a:cubicBezTo>
                  <a:cubicBezTo>
                    <a:pt x="208" y="0"/>
                    <a:pt x="252" y="0"/>
                    <a:pt x="298" y="0"/>
                  </a:cubicBezTo>
                  <a:cubicBezTo>
                    <a:pt x="349" y="164"/>
                    <a:pt x="398" y="328"/>
                    <a:pt x="449" y="492"/>
                  </a:cubicBezTo>
                  <a:cubicBezTo>
                    <a:pt x="446" y="492"/>
                    <a:pt x="444" y="495"/>
                    <a:pt x="439" y="495"/>
                  </a:cubicBezTo>
                  <a:cubicBezTo>
                    <a:pt x="408" y="495"/>
                    <a:pt x="375" y="492"/>
                    <a:pt x="341" y="495"/>
                  </a:cubicBezTo>
                  <a:cubicBezTo>
                    <a:pt x="331" y="495"/>
                    <a:pt x="329" y="489"/>
                    <a:pt x="326" y="482"/>
                  </a:cubicBezTo>
                  <a:cubicBezTo>
                    <a:pt x="316" y="443"/>
                    <a:pt x="303" y="405"/>
                    <a:pt x="293" y="366"/>
                  </a:cubicBezTo>
                  <a:close/>
                  <a:moveTo>
                    <a:pt x="170" y="282"/>
                  </a:moveTo>
                  <a:cubicBezTo>
                    <a:pt x="203" y="282"/>
                    <a:pt x="239" y="282"/>
                    <a:pt x="275" y="282"/>
                  </a:cubicBezTo>
                  <a:cubicBezTo>
                    <a:pt x="254" y="215"/>
                    <a:pt x="236" y="151"/>
                    <a:pt x="221" y="87"/>
                  </a:cubicBezTo>
                  <a:cubicBezTo>
                    <a:pt x="203" y="151"/>
                    <a:pt x="185" y="218"/>
                    <a:pt x="170" y="282"/>
                  </a:cubicBezTo>
                  <a:close/>
                </a:path>
              </a:pathLst>
            </a:custGeom>
            <a:solidFill>
              <a:srgbClr val="EC1D2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3" name="Freeform 13"/>
            <p:cNvSpPr>
              <a:spLocks noEditPoints="1"/>
            </p:cNvSpPr>
            <p:nvPr/>
          </p:nvSpPr>
          <p:spPr bwMode="auto">
            <a:xfrm>
              <a:off x="546" y="3875"/>
              <a:ext cx="74" cy="82"/>
            </a:xfrm>
            <a:custGeom>
              <a:avLst/>
              <a:gdLst>
                <a:gd name="T0" fmla="*/ 151 w 451"/>
                <a:gd name="T1" fmla="*/ 0 h 495"/>
                <a:gd name="T2" fmla="*/ 297 w 451"/>
                <a:gd name="T3" fmla="*/ 0 h 495"/>
                <a:gd name="T4" fmla="*/ 451 w 451"/>
                <a:gd name="T5" fmla="*/ 495 h 495"/>
                <a:gd name="T6" fmla="*/ 420 w 451"/>
                <a:gd name="T7" fmla="*/ 495 h 495"/>
                <a:gd name="T8" fmla="*/ 338 w 451"/>
                <a:gd name="T9" fmla="*/ 495 h 495"/>
                <a:gd name="T10" fmla="*/ 325 w 451"/>
                <a:gd name="T11" fmla="*/ 484 h 495"/>
                <a:gd name="T12" fmla="*/ 292 w 451"/>
                <a:gd name="T13" fmla="*/ 374 h 495"/>
                <a:gd name="T14" fmla="*/ 284 w 451"/>
                <a:gd name="T15" fmla="*/ 366 h 495"/>
                <a:gd name="T16" fmla="*/ 151 w 451"/>
                <a:gd name="T17" fmla="*/ 366 h 495"/>
                <a:gd name="T18" fmla="*/ 120 w 451"/>
                <a:gd name="T19" fmla="*/ 479 h 495"/>
                <a:gd name="T20" fmla="*/ 102 w 451"/>
                <a:gd name="T21" fmla="*/ 495 h 495"/>
                <a:gd name="T22" fmla="*/ 13 w 451"/>
                <a:gd name="T23" fmla="*/ 495 h 495"/>
                <a:gd name="T24" fmla="*/ 0 w 451"/>
                <a:gd name="T25" fmla="*/ 495 h 495"/>
                <a:gd name="T26" fmla="*/ 151 w 451"/>
                <a:gd name="T27" fmla="*/ 0 h 495"/>
                <a:gd name="T28" fmla="*/ 220 w 451"/>
                <a:gd name="T29" fmla="*/ 87 h 495"/>
                <a:gd name="T30" fmla="*/ 169 w 451"/>
                <a:gd name="T31" fmla="*/ 282 h 495"/>
                <a:gd name="T32" fmla="*/ 274 w 451"/>
                <a:gd name="T33" fmla="*/ 282 h 495"/>
                <a:gd name="T34" fmla="*/ 220 w 451"/>
                <a:gd name="T35" fmla="*/ 87 h 4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451" h="495">
                  <a:moveTo>
                    <a:pt x="151" y="0"/>
                  </a:moveTo>
                  <a:cubicBezTo>
                    <a:pt x="200" y="0"/>
                    <a:pt x="249" y="0"/>
                    <a:pt x="297" y="0"/>
                  </a:cubicBezTo>
                  <a:cubicBezTo>
                    <a:pt x="349" y="164"/>
                    <a:pt x="397" y="328"/>
                    <a:pt x="451" y="495"/>
                  </a:cubicBezTo>
                  <a:cubicBezTo>
                    <a:pt x="438" y="495"/>
                    <a:pt x="431" y="495"/>
                    <a:pt x="420" y="495"/>
                  </a:cubicBezTo>
                  <a:cubicBezTo>
                    <a:pt x="395" y="495"/>
                    <a:pt x="366" y="492"/>
                    <a:pt x="338" y="495"/>
                  </a:cubicBezTo>
                  <a:cubicBezTo>
                    <a:pt x="331" y="495"/>
                    <a:pt x="328" y="492"/>
                    <a:pt x="325" y="484"/>
                  </a:cubicBezTo>
                  <a:cubicBezTo>
                    <a:pt x="315" y="448"/>
                    <a:pt x="305" y="410"/>
                    <a:pt x="292" y="374"/>
                  </a:cubicBezTo>
                  <a:cubicBezTo>
                    <a:pt x="292" y="371"/>
                    <a:pt x="287" y="366"/>
                    <a:pt x="284" y="366"/>
                  </a:cubicBezTo>
                  <a:cubicBezTo>
                    <a:pt x="241" y="366"/>
                    <a:pt x="195" y="366"/>
                    <a:pt x="151" y="366"/>
                  </a:cubicBezTo>
                  <a:cubicBezTo>
                    <a:pt x="141" y="405"/>
                    <a:pt x="131" y="441"/>
                    <a:pt x="120" y="479"/>
                  </a:cubicBezTo>
                  <a:cubicBezTo>
                    <a:pt x="118" y="489"/>
                    <a:pt x="113" y="495"/>
                    <a:pt x="102" y="495"/>
                  </a:cubicBezTo>
                  <a:cubicBezTo>
                    <a:pt x="72" y="492"/>
                    <a:pt x="41" y="495"/>
                    <a:pt x="13" y="495"/>
                  </a:cubicBezTo>
                  <a:cubicBezTo>
                    <a:pt x="8" y="495"/>
                    <a:pt x="5" y="495"/>
                    <a:pt x="0" y="495"/>
                  </a:cubicBezTo>
                  <a:cubicBezTo>
                    <a:pt x="51" y="328"/>
                    <a:pt x="100" y="164"/>
                    <a:pt x="151" y="0"/>
                  </a:cubicBezTo>
                  <a:close/>
                  <a:moveTo>
                    <a:pt x="220" y="87"/>
                  </a:moveTo>
                  <a:cubicBezTo>
                    <a:pt x="202" y="151"/>
                    <a:pt x="184" y="218"/>
                    <a:pt x="169" y="282"/>
                  </a:cubicBezTo>
                  <a:cubicBezTo>
                    <a:pt x="202" y="282"/>
                    <a:pt x="238" y="282"/>
                    <a:pt x="274" y="282"/>
                  </a:cubicBezTo>
                  <a:cubicBezTo>
                    <a:pt x="256" y="215"/>
                    <a:pt x="238" y="151"/>
                    <a:pt x="220" y="87"/>
                  </a:cubicBezTo>
                  <a:close/>
                </a:path>
              </a:pathLst>
            </a:custGeom>
            <a:solidFill>
              <a:srgbClr val="EC1D2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4" name="Freeform 14"/>
            <p:cNvSpPr>
              <a:spLocks/>
            </p:cNvSpPr>
            <p:nvPr/>
          </p:nvSpPr>
          <p:spPr bwMode="auto">
            <a:xfrm>
              <a:off x="331" y="3875"/>
              <a:ext cx="52" cy="82"/>
            </a:xfrm>
            <a:custGeom>
              <a:avLst/>
              <a:gdLst>
                <a:gd name="T0" fmla="*/ 313 w 313"/>
                <a:gd name="T1" fmla="*/ 490 h 490"/>
                <a:gd name="T2" fmla="*/ 0 w 313"/>
                <a:gd name="T3" fmla="*/ 490 h 490"/>
                <a:gd name="T4" fmla="*/ 0 w 313"/>
                <a:gd name="T5" fmla="*/ 0 h 490"/>
                <a:gd name="T6" fmla="*/ 303 w 313"/>
                <a:gd name="T7" fmla="*/ 0 h 490"/>
                <a:gd name="T8" fmla="*/ 303 w 313"/>
                <a:gd name="T9" fmla="*/ 90 h 490"/>
                <a:gd name="T10" fmla="*/ 110 w 313"/>
                <a:gd name="T11" fmla="*/ 90 h 490"/>
                <a:gd name="T12" fmla="*/ 110 w 313"/>
                <a:gd name="T13" fmla="*/ 193 h 490"/>
                <a:gd name="T14" fmla="*/ 292 w 313"/>
                <a:gd name="T15" fmla="*/ 193 h 490"/>
                <a:gd name="T16" fmla="*/ 292 w 313"/>
                <a:gd name="T17" fmla="*/ 282 h 490"/>
                <a:gd name="T18" fmla="*/ 110 w 313"/>
                <a:gd name="T19" fmla="*/ 282 h 490"/>
                <a:gd name="T20" fmla="*/ 110 w 313"/>
                <a:gd name="T21" fmla="*/ 398 h 490"/>
                <a:gd name="T22" fmla="*/ 313 w 313"/>
                <a:gd name="T23" fmla="*/ 398 h 490"/>
                <a:gd name="T24" fmla="*/ 313 w 313"/>
                <a:gd name="T25" fmla="*/ 490 h 4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13" h="490">
                  <a:moveTo>
                    <a:pt x="313" y="490"/>
                  </a:moveTo>
                  <a:cubicBezTo>
                    <a:pt x="208" y="490"/>
                    <a:pt x="105" y="490"/>
                    <a:pt x="0" y="490"/>
                  </a:cubicBezTo>
                  <a:cubicBezTo>
                    <a:pt x="0" y="326"/>
                    <a:pt x="0" y="164"/>
                    <a:pt x="0" y="0"/>
                  </a:cubicBezTo>
                  <a:cubicBezTo>
                    <a:pt x="100" y="0"/>
                    <a:pt x="200" y="0"/>
                    <a:pt x="303" y="0"/>
                  </a:cubicBezTo>
                  <a:cubicBezTo>
                    <a:pt x="303" y="29"/>
                    <a:pt x="303" y="59"/>
                    <a:pt x="303" y="90"/>
                  </a:cubicBezTo>
                  <a:cubicBezTo>
                    <a:pt x="239" y="90"/>
                    <a:pt x="175" y="90"/>
                    <a:pt x="110" y="90"/>
                  </a:cubicBezTo>
                  <a:cubicBezTo>
                    <a:pt x="110" y="123"/>
                    <a:pt x="110" y="157"/>
                    <a:pt x="110" y="193"/>
                  </a:cubicBezTo>
                  <a:cubicBezTo>
                    <a:pt x="172" y="193"/>
                    <a:pt x="231" y="193"/>
                    <a:pt x="292" y="193"/>
                  </a:cubicBezTo>
                  <a:cubicBezTo>
                    <a:pt x="292" y="223"/>
                    <a:pt x="292" y="252"/>
                    <a:pt x="292" y="282"/>
                  </a:cubicBezTo>
                  <a:cubicBezTo>
                    <a:pt x="231" y="282"/>
                    <a:pt x="172" y="282"/>
                    <a:pt x="110" y="282"/>
                  </a:cubicBezTo>
                  <a:cubicBezTo>
                    <a:pt x="110" y="321"/>
                    <a:pt x="110" y="359"/>
                    <a:pt x="110" y="398"/>
                  </a:cubicBezTo>
                  <a:cubicBezTo>
                    <a:pt x="177" y="398"/>
                    <a:pt x="244" y="398"/>
                    <a:pt x="313" y="398"/>
                  </a:cubicBezTo>
                  <a:cubicBezTo>
                    <a:pt x="313" y="431"/>
                    <a:pt x="313" y="459"/>
                    <a:pt x="313" y="490"/>
                  </a:cubicBezTo>
                  <a:close/>
                </a:path>
              </a:pathLst>
            </a:custGeom>
            <a:solidFill>
              <a:srgbClr val="EC1D2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5" name="Freeform 15"/>
            <p:cNvSpPr>
              <a:spLocks/>
            </p:cNvSpPr>
            <p:nvPr/>
          </p:nvSpPr>
          <p:spPr bwMode="auto">
            <a:xfrm>
              <a:off x="480" y="3873"/>
              <a:ext cx="66" cy="86"/>
            </a:xfrm>
            <a:custGeom>
              <a:avLst/>
              <a:gdLst>
                <a:gd name="T0" fmla="*/ 371 w 397"/>
                <a:gd name="T1" fmla="*/ 112 h 515"/>
                <a:gd name="T2" fmla="*/ 238 w 397"/>
                <a:gd name="T3" fmla="*/ 99 h 515"/>
                <a:gd name="T4" fmla="*/ 125 w 397"/>
                <a:gd name="T5" fmla="*/ 230 h 515"/>
                <a:gd name="T6" fmla="*/ 130 w 397"/>
                <a:gd name="T7" fmla="*/ 310 h 515"/>
                <a:gd name="T8" fmla="*/ 266 w 397"/>
                <a:gd name="T9" fmla="*/ 417 h 515"/>
                <a:gd name="T10" fmla="*/ 320 w 397"/>
                <a:gd name="T11" fmla="*/ 415 h 515"/>
                <a:gd name="T12" fmla="*/ 374 w 397"/>
                <a:gd name="T13" fmla="*/ 402 h 515"/>
                <a:gd name="T14" fmla="*/ 389 w 397"/>
                <a:gd name="T15" fmla="*/ 492 h 515"/>
                <a:gd name="T16" fmla="*/ 343 w 397"/>
                <a:gd name="T17" fmla="*/ 502 h 515"/>
                <a:gd name="T18" fmla="*/ 161 w 397"/>
                <a:gd name="T19" fmla="*/ 494 h 515"/>
                <a:gd name="T20" fmla="*/ 10 w 397"/>
                <a:gd name="T21" fmla="*/ 312 h 515"/>
                <a:gd name="T22" fmla="*/ 30 w 397"/>
                <a:gd name="T23" fmla="*/ 140 h 515"/>
                <a:gd name="T24" fmla="*/ 210 w 397"/>
                <a:gd name="T25" fmla="*/ 10 h 515"/>
                <a:gd name="T26" fmla="*/ 376 w 397"/>
                <a:gd name="T27" fmla="*/ 17 h 515"/>
                <a:gd name="T28" fmla="*/ 397 w 397"/>
                <a:gd name="T29" fmla="*/ 25 h 515"/>
                <a:gd name="T30" fmla="*/ 371 w 397"/>
                <a:gd name="T31" fmla="*/ 112 h 5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97" h="515">
                  <a:moveTo>
                    <a:pt x="371" y="112"/>
                  </a:moveTo>
                  <a:cubicBezTo>
                    <a:pt x="328" y="94"/>
                    <a:pt x="284" y="89"/>
                    <a:pt x="238" y="99"/>
                  </a:cubicBezTo>
                  <a:cubicBezTo>
                    <a:pt x="174" y="112"/>
                    <a:pt x="130" y="164"/>
                    <a:pt x="125" y="230"/>
                  </a:cubicBezTo>
                  <a:cubicBezTo>
                    <a:pt x="123" y="258"/>
                    <a:pt x="123" y="284"/>
                    <a:pt x="130" y="310"/>
                  </a:cubicBezTo>
                  <a:cubicBezTo>
                    <a:pt x="148" y="374"/>
                    <a:pt x="197" y="415"/>
                    <a:pt x="266" y="417"/>
                  </a:cubicBezTo>
                  <a:cubicBezTo>
                    <a:pt x="284" y="417"/>
                    <a:pt x="302" y="417"/>
                    <a:pt x="320" y="415"/>
                  </a:cubicBezTo>
                  <a:cubicBezTo>
                    <a:pt x="338" y="412"/>
                    <a:pt x="353" y="407"/>
                    <a:pt x="374" y="402"/>
                  </a:cubicBezTo>
                  <a:cubicBezTo>
                    <a:pt x="379" y="430"/>
                    <a:pt x="384" y="458"/>
                    <a:pt x="389" y="492"/>
                  </a:cubicBezTo>
                  <a:cubicBezTo>
                    <a:pt x="374" y="494"/>
                    <a:pt x="358" y="499"/>
                    <a:pt x="343" y="502"/>
                  </a:cubicBezTo>
                  <a:cubicBezTo>
                    <a:pt x="282" y="515"/>
                    <a:pt x="220" y="515"/>
                    <a:pt x="161" y="494"/>
                  </a:cubicBezTo>
                  <a:cubicBezTo>
                    <a:pt x="74" y="463"/>
                    <a:pt x="23" y="402"/>
                    <a:pt x="10" y="312"/>
                  </a:cubicBezTo>
                  <a:cubicBezTo>
                    <a:pt x="0" y="253"/>
                    <a:pt x="5" y="194"/>
                    <a:pt x="30" y="140"/>
                  </a:cubicBezTo>
                  <a:cubicBezTo>
                    <a:pt x="69" y="66"/>
                    <a:pt x="130" y="25"/>
                    <a:pt x="210" y="10"/>
                  </a:cubicBezTo>
                  <a:cubicBezTo>
                    <a:pt x="266" y="0"/>
                    <a:pt x="323" y="2"/>
                    <a:pt x="376" y="17"/>
                  </a:cubicBezTo>
                  <a:cubicBezTo>
                    <a:pt x="384" y="20"/>
                    <a:pt x="389" y="23"/>
                    <a:pt x="397" y="25"/>
                  </a:cubicBezTo>
                  <a:cubicBezTo>
                    <a:pt x="387" y="53"/>
                    <a:pt x="379" y="84"/>
                    <a:pt x="371" y="112"/>
                  </a:cubicBezTo>
                  <a:close/>
                </a:path>
              </a:pathLst>
            </a:custGeom>
            <a:solidFill>
              <a:srgbClr val="EC1D2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6" name="Freeform 16"/>
            <p:cNvSpPr>
              <a:spLocks noEditPoints="1"/>
            </p:cNvSpPr>
            <p:nvPr/>
          </p:nvSpPr>
          <p:spPr bwMode="auto">
            <a:xfrm>
              <a:off x="429" y="3970"/>
              <a:ext cx="53" cy="70"/>
            </a:xfrm>
            <a:custGeom>
              <a:avLst/>
              <a:gdLst>
                <a:gd name="T0" fmla="*/ 223 w 321"/>
                <a:gd name="T1" fmla="*/ 190 h 418"/>
                <a:gd name="T2" fmla="*/ 264 w 321"/>
                <a:gd name="T3" fmla="*/ 213 h 418"/>
                <a:gd name="T4" fmla="*/ 246 w 321"/>
                <a:gd name="T5" fmla="*/ 387 h 418"/>
                <a:gd name="T6" fmla="*/ 159 w 321"/>
                <a:gd name="T7" fmla="*/ 413 h 418"/>
                <a:gd name="T8" fmla="*/ 3 w 321"/>
                <a:gd name="T9" fmla="*/ 410 h 418"/>
                <a:gd name="T10" fmla="*/ 0 w 321"/>
                <a:gd name="T11" fmla="*/ 407 h 418"/>
                <a:gd name="T12" fmla="*/ 0 w 321"/>
                <a:gd name="T13" fmla="*/ 8 h 418"/>
                <a:gd name="T14" fmla="*/ 77 w 321"/>
                <a:gd name="T15" fmla="*/ 2 h 418"/>
                <a:gd name="T16" fmla="*/ 193 w 321"/>
                <a:gd name="T17" fmla="*/ 8 h 418"/>
                <a:gd name="T18" fmla="*/ 262 w 321"/>
                <a:gd name="T19" fmla="*/ 41 h 418"/>
                <a:gd name="T20" fmla="*/ 241 w 321"/>
                <a:gd name="T21" fmla="*/ 182 h 418"/>
                <a:gd name="T22" fmla="*/ 223 w 321"/>
                <a:gd name="T23" fmla="*/ 190 h 418"/>
                <a:gd name="T24" fmla="*/ 93 w 321"/>
                <a:gd name="T25" fmla="*/ 346 h 418"/>
                <a:gd name="T26" fmla="*/ 159 w 321"/>
                <a:gd name="T27" fmla="*/ 341 h 418"/>
                <a:gd name="T28" fmla="*/ 203 w 321"/>
                <a:gd name="T29" fmla="*/ 287 h 418"/>
                <a:gd name="T30" fmla="*/ 159 w 321"/>
                <a:gd name="T31" fmla="*/ 236 h 418"/>
                <a:gd name="T32" fmla="*/ 93 w 321"/>
                <a:gd name="T33" fmla="*/ 228 h 418"/>
                <a:gd name="T34" fmla="*/ 93 w 321"/>
                <a:gd name="T35" fmla="*/ 346 h 418"/>
                <a:gd name="T36" fmla="*/ 93 w 321"/>
                <a:gd name="T37" fmla="*/ 72 h 418"/>
                <a:gd name="T38" fmla="*/ 93 w 321"/>
                <a:gd name="T39" fmla="*/ 164 h 418"/>
                <a:gd name="T40" fmla="*/ 126 w 321"/>
                <a:gd name="T41" fmla="*/ 164 h 418"/>
                <a:gd name="T42" fmla="*/ 167 w 321"/>
                <a:gd name="T43" fmla="*/ 156 h 418"/>
                <a:gd name="T44" fmla="*/ 193 w 321"/>
                <a:gd name="T45" fmla="*/ 110 h 418"/>
                <a:gd name="T46" fmla="*/ 159 w 321"/>
                <a:gd name="T47" fmla="*/ 72 h 418"/>
                <a:gd name="T48" fmla="*/ 93 w 321"/>
                <a:gd name="T49" fmla="*/ 72 h 4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321" h="418">
                  <a:moveTo>
                    <a:pt x="223" y="190"/>
                  </a:moveTo>
                  <a:cubicBezTo>
                    <a:pt x="236" y="197"/>
                    <a:pt x="252" y="205"/>
                    <a:pt x="264" y="213"/>
                  </a:cubicBezTo>
                  <a:cubicBezTo>
                    <a:pt x="321" y="259"/>
                    <a:pt x="311" y="348"/>
                    <a:pt x="246" y="387"/>
                  </a:cubicBezTo>
                  <a:cubicBezTo>
                    <a:pt x="221" y="402"/>
                    <a:pt x="190" y="410"/>
                    <a:pt x="159" y="413"/>
                  </a:cubicBezTo>
                  <a:cubicBezTo>
                    <a:pt x="108" y="418"/>
                    <a:pt x="57" y="415"/>
                    <a:pt x="3" y="410"/>
                  </a:cubicBezTo>
                  <a:cubicBezTo>
                    <a:pt x="3" y="410"/>
                    <a:pt x="0" y="410"/>
                    <a:pt x="0" y="407"/>
                  </a:cubicBezTo>
                  <a:cubicBezTo>
                    <a:pt x="0" y="277"/>
                    <a:pt x="0" y="143"/>
                    <a:pt x="0" y="8"/>
                  </a:cubicBezTo>
                  <a:cubicBezTo>
                    <a:pt x="26" y="5"/>
                    <a:pt x="52" y="2"/>
                    <a:pt x="77" y="2"/>
                  </a:cubicBezTo>
                  <a:cubicBezTo>
                    <a:pt x="116" y="0"/>
                    <a:pt x="154" y="0"/>
                    <a:pt x="193" y="8"/>
                  </a:cubicBezTo>
                  <a:cubicBezTo>
                    <a:pt x="218" y="13"/>
                    <a:pt x="244" y="23"/>
                    <a:pt x="262" y="41"/>
                  </a:cubicBezTo>
                  <a:cubicBezTo>
                    <a:pt x="303" y="84"/>
                    <a:pt x="293" y="151"/>
                    <a:pt x="241" y="182"/>
                  </a:cubicBezTo>
                  <a:cubicBezTo>
                    <a:pt x="234" y="184"/>
                    <a:pt x="229" y="187"/>
                    <a:pt x="223" y="190"/>
                  </a:cubicBezTo>
                  <a:close/>
                  <a:moveTo>
                    <a:pt x="93" y="346"/>
                  </a:moveTo>
                  <a:cubicBezTo>
                    <a:pt x="116" y="346"/>
                    <a:pt x="136" y="348"/>
                    <a:pt x="159" y="341"/>
                  </a:cubicBezTo>
                  <a:cubicBezTo>
                    <a:pt x="188" y="333"/>
                    <a:pt x="203" y="315"/>
                    <a:pt x="203" y="287"/>
                  </a:cubicBezTo>
                  <a:cubicBezTo>
                    <a:pt x="203" y="261"/>
                    <a:pt x="190" y="243"/>
                    <a:pt x="159" y="236"/>
                  </a:cubicBezTo>
                  <a:cubicBezTo>
                    <a:pt x="139" y="231"/>
                    <a:pt x="116" y="231"/>
                    <a:pt x="93" y="228"/>
                  </a:cubicBezTo>
                  <a:cubicBezTo>
                    <a:pt x="93" y="269"/>
                    <a:pt x="93" y="307"/>
                    <a:pt x="93" y="346"/>
                  </a:cubicBezTo>
                  <a:close/>
                  <a:moveTo>
                    <a:pt x="93" y="72"/>
                  </a:moveTo>
                  <a:cubicBezTo>
                    <a:pt x="93" y="102"/>
                    <a:pt x="93" y="133"/>
                    <a:pt x="93" y="164"/>
                  </a:cubicBezTo>
                  <a:cubicBezTo>
                    <a:pt x="103" y="164"/>
                    <a:pt x="116" y="166"/>
                    <a:pt x="126" y="164"/>
                  </a:cubicBezTo>
                  <a:cubicBezTo>
                    <a:pt x="141" y="161"/>
                    <a:pt x="154" y="161"/>
                    <a:pt x="167" y="156"/>
                  </a:cubicBezTo>
                  <a:cubicBezTo>
                    <a:pt x="188" y="146"/>
                    <a:pt x="195" y="131"/>
                    <a:pt x="193" y="110"/>
                  </a:cubicBezTo>
                  <a:cubicBezTo>
                    <a:pt x="193" y="92"/>
                    <a:pt x="180" y="77"/>
                    <a:pt x="159" y="72"/>
                  </a:cubicBezTo>
                  <a:cubicBezTo>
                    <a:pt x="136" y="66"/>
                    <a:pt x="116" y="69"/>
                    <a:pt x="93" y="72"/>
                  </a:cubicBezTo>
                  <a:close/>
                </a:path>
              </a:pathLst>
            </a:custGeom>
            <a:solidFill>
              <a:srgbClr val="22419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7" name="Freeform 17"/>
            <p:cNvSpPr>
              <a:spLocks noEditPoints="1"/>
            </p:cNvSpPr>
            <p:nvPr/>
          </p:nvSpPr>
          <p:spPr bwMode="auto">
            <a:xfrm>
              <a:off x="361" y="3969"/>
              <a:ext cx="65" cy="71"/>
            </a:xfrm>
            <a:custGeom>
              <a:avLst/>
              <a:gdLst>
                <a:gd name="T0" fmla="*/ 197 w 400"/>
                <a:gd name="T1" fmla="*/ 423 h 423"/>
                <a:gd name="T2" fmla="*/ 8 w 400"/>
                <a:gd name="T3" fmla="*/ 259 h 423"/>
                <a:gd name="T4" fmla="*/ 26 w 400"/>
                <a:gd name="T5" fmla="*/ 113 h 423"/>
                <a:gd name="T6" fmla="*/ 213 w 400"/>
                <a:gd name="T7" fmla="*/ 2 h 423"/>
                <a:gd name="T8" fmla="*/ 395 w 400"/>
                <a:gd name="T9" fmla="*/ 184 h 423"/>
                <a:gd name="T10" fmla="*/ 372 w 400"/>
                <a:gd name="T11" fmla="*/ 320 h 423"/>
                <a:gd name="T12" fmla="*/ 203 w 400"/>
                <a:gd name="T13" fmla="*/ 423 h 423"/>
                <a:gd name="T14" fmla="*/ 197 w 400"/>
                <a:gd name="T15" fmla="*/ 423 h 423"/>
                <a:gd name="T16" fmla="*/ 103 w 400"/>
                <a:gd name="T17" fmla="*/ 210 h 423"/>
                <a:gd name="T18" fmla="*/ 121 w 400"/>
                <a:gd name="T19" fmla="*/ 297 h 423"/>
                <a:gd name="T20" fmla="*/ 200 w 400"/>
                <a:gd name="T21" fmla="*/ 348 h 423"/>
                <a:gd name="T22" fmla="*/ 280 w 400"/>
                <a:gd name="T23" fmla="*/ 297 h 423"/>
                <a:gd name="T24" fmla="*/ 297 w 400"/>
                <a:gd name="T25" fmla="*/ 200 h 423"/>
                <a:gd name="T26" fmla="*/ 269 w 400"/>
                <a:gd name="T27" fmla="*/ 113 h 423"/>
                <a:gd name="T28" fmla="*/ 133 w 400"/>
                <a:gd name="T29" fmla="*/ 110 h 423"/>
                <a:gd name="T30" fmla="*/ 103 w 400"/>
                <a:gd name="T31" fmla="*/ 210 h 4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400" h="423">
                  <a:moveTo>
                    <a:pt x="197" y="423"/>
                  </a:moveTo>
                  <a:cubicBezTo>
                    <a:pt x="98" y="423"/>
                    <a:pt x="23" y="359"/>
                    <a:pt x="8" y="259"/>
                  </a:cubicBezTo>
                  <a:cubicBezTo>
                    <a:pt x="0" y="210"/>
                    <a:pt x="5" y="159"/>
                    <a:pt x="26" y="113"/>
                  </a:cubicBezTo>
                  <a:cubicBezTo>
                    <a:pt x="59" y="38"/>
                    <a:pt x="131" y="0"/>
                    <a:pt x="213" y="2"/>
                  </a:cubicBezTo>
                  <a:cubicBezTo>
                    <a:pt x="323" y="7"/>
                    <a:pt x="387" y="87"/>
                    <a:pt x="395" y="184"/>
                  </a:cubicBezTo>
                  <a:cubicBezTo>
                    <a:pt x="400" y="230"/>
                    <a:pt x="395" y="279"/>
                    <a:pt x="372" y="320"/>
                  </a:cubicBezTo>
                  <a:cubicBezTo>
                    <a:pt x="336" y="389"/>
                    <a:pt x="277" y="420"/>
                    <a:pt x="203" y="423"/>
                  </a:cubicBezTo>
                  <a:cubicBezTo>
                    <a:pt x="200" y="423"/>
                    <a:pt x="200" y="423"/>
                    <a:pt x="197" y="423"/>
                  </a:cubicBezTo>
                  <a:close/>
                  <a:moveTo>
                    <a:pt x="103" y="210"/>
                  </a:moveTo>
                  <a:cubicBezTo>
                    <a:pt x="103" y="243"/>
                    <a:pt x="108" y="271"/>
                    <a:pt x="121" y="297"/>
                  </a:cubicBezTo>
                  <a:cubicBezTo>
                    <a:pt x="139" y="330"/>
                    <a:pt x="164" y="348"/>
                    <a:pt x="200" y="348"/>
                  </a:cubicBezTo>
                  <a:cubicBezTo>
                    <a:pt x="239" y="348"/>
                    <a:pt x="264" y="330"/>
                    <a:pt x="280" y="297"/>
                  </a:cubicBezTo>
                  <a:cubicBezTo>
                    <a:pt x="295" y="266"/>
                    <a:pt x="300" y="233"/>
                    <a:pt x="297" y="200"/>
                  </a:cubicBezTo>
                  <a:cubicBezTo>
                    <a:pt x="297" y="169"/>
                    <a:pt x="290" y="138"/>
                    <a:pt x="269" y="113"/>
                  </a:cubicBezTo>
                  <a:cubicBezTo>
                    <a:pt x="236" y="64"/>
                    <a:pt x="169" y="64"/>
                    <a:pt x="133" y="110"/>
                  </a:cubicBezTo>
                  <a:cubicBezTo>
                    <a:pt x="110" y="141"/>
                    <a:pt x="103" y="177"/>
                    <a:pt x="103" y="210"/>
                  </a:cubicBezTo>
                  <a:close/>
                </a:path>
              </a:pathLst>
            </a:custGeom>
            <a:solidFill>
              <a:srgbClr val="22419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8" name="Freeform 18"/>
            <p:cNvSpPr>
              <a:spLocks/>
            </p:cNvSpPr>
            <p:nvPr/>
          </p:nvSpPr>
          <p:spPr bwMode="auto">
            <a:xfrm>
              <a:off x="475" y="3969"/>
              <a:ext cx="52" cy="71"/>
            </a:xfrm>
            <a:custGeom>
              <a:avLst/>
              <a:gdLst>
                <a:gd name="T0" fmla="*/ 18 w 315"/>
                <a:gd name="T1" fmla="*/ 395 h 423"/>
                <a:gd name="T2" fmla="*/ 36 w 315"/>
                <a:gd name="T3" fmla="*/ 321 h 423"/>
                <a:gd name="T4" fmla="*/ 90 w 315"/>
                <a:gd name="T5" fmla="*/ 336 h 423"/>
                <a:gd name="T6" fmla="*/ 166 w 315"/>
                <a:gd name="T7" fmla="*/ 341 h 423"/>
                <a:gd name="T8" fmla="*/ 202 w 315"/>
                <a:gd name="T9" fmla="*/ 295 h 423"/>
                <a:gd name="T10" fmla="*/ 182 w 315"/>
                <a:gd name="T11" fmla="*/ 267 h 423"/>
                <a:gd name="T12" fmla="*/ 138 w 315"/>
                <a:gd name="T13" fmla="*/ 244 h 423"/>
                <a:gd name="T14" fmla="*/ 74 w 315"/>
                <a:gd name="T15" fmla="*/ 213 h 423"/>
                <a:gd name="T16" fmla="*/ 79 w 315"/>
                <a:gd name="T17" fmla="*/ 23 h 423"/>
                <a:gd name="T18" fmla="*/ 169 w 315"/>
                <a:gd name="T19" fmla="*/ 0 h 423"/>
                <a:gd name="T20" fmla="*/ 274 w 315"/>
                <a:gd name="T21" fmla="*/ 18 h 423"/>
                <a:gd name="T22" fmla="*/ 282 w 315"/>
                <a:gd name="T23" fmla="*/ 21 h 423"/>
                <a:gd name="T24" fmla="*/ 261 w 315"/>
                <a:gd name="T25" fmla="*/ 95 h 423"/>
                <a:gd name="T26" fmla="*/ 218 w 315"/>
                <a:gd name="T27" fmla="*/ 82 h 423"/>
                <a:gd name="T28" fmla="*/ 148 w 315"/>
                <a:gd name="T29" fmla="*/ 80 h 423"/>
                <a:gd name="T30" fmla="*/ 120 w 315"/>
                <a:gd name="T31" fmla="*/ 126 h 423"/>
                <a:gd name="T32" fmla="*/ 141 w 315"/>
                <a:gd name="T33" fmla="*/ 149 h 423"/>
                <a:gd name="T34" fmla="*/ 197 w 315"/>
                <a:gd name="T35" fmla="*/ 175 h 423"/>
                <a:gd name="T36" fmla="*/ 261 w 315"/>
                <a:gd name="T37" fmla="*/ 210 h 423"/>
                <a:gd name="T38" fmla="*/ 251 w 315"/>
                <a:gd name="T39" fmla="*/ 387 h 423"/>
                <a:gd name="T40" fmla="*/ 161 w 315"/>
                <a:gd name="T41" fmla="*/ 418 h 423"/>
                <a:gd name="T42" fmla="*/ 28 w 315"/>
                <a:gd name="T43" fmla="*/ 400 h 423"/>
                <a:gd name="T44" fmla="*/ 18 w 315"/>
                <a:gd name="T45" fmla="*/ 395 h 4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5" h="423">
                  <a:moveTo>
                    <a:pt x="18" y="395"/>
                  </a:moveTo>
                  <a:cubicBezTo>
                    <a:pt x="25" y="369"/>
                    <a:pt x="31" y="344"/>
                    <a:pt x="36" y="321"/>
                  </a:cubicBezTo>
                  <a:cubicBezTo>
                    <a:pt x="54" y="326"/>
                    <a:pt x="72" y="334"/>
                    <a:pt x="90" y="336"/>
                  </a:cubicBezTo>
                  <a:cubicBezTo>
                    <a:pt x="115" y="344"/>
                    <a:pt x="141" y="346"/>
                    <a:pt x="166" y="341"/>
                  </a:cubicBezTo>
                  <a:cubicBezTo>
                    <a:pt x="192" y="334"/>
                    <a:pt x="205" y="318"/>
                    <a:pt x="202" y="295"/>
                  </a:cubicBezTo>
                  <a:cubicBezTo>
                    <a:pt x="202" y="282"/>
                    <a:pt x="195" y="272"/>
                    <a:pt x="182" y="267"/>
                  </a:cubicBezTo>
                  <a:cubicBezTo>
                    <a:pt x="169" y="257"/>
                    <a:pt x="154" y="251"/>
                    <a:pt x="138" y="244"/>
                  </a:cubicBezTo>
                  <a:cubicBezTo>
                    <a:pt x="115" y="234"/>
                    <a:pt x="95" y="226"/>
                    <a:pt x="74" y="213"/>
                  </a:cubicBezTo>
                  <a:cubicBezTo>
                    <a:pt x="0" y="164"/>
                    <a:pt x="13" y="64"/>
                    <a:pt x="79" y="23"/>
                  </a:cubicBezTo>
                  <a:cubicBezTo>
                    <a:pt x="107" y="8"/>
                    <a:pt x="138" y="0"/>
                    <a:pt x="169" y="0"/>
                  </a:cubicBezTo>
                  <a:cubicBezTo>
                    <a:pt x="205" y="0"/>
                    <a:pt x="241" y="3"/>
                    <a:pt x="274" y="18"/>
                  </a:cubicBezTo>
                  <a:cubicBezTo>
                    <a:pt x="277" y="18"/>
                    <a:pt x="279" y="21"/>
                    <a:pt x="282" y="21"/>
                  </a:cubicBezTo>
                  <a:cubicBezTo>
                    <a:pt x="274" y="46"/>
                    <a:pt x="269" y="69"/>
                    <a:pt x="261" y="95"/>
                  </a:cubicBezTo>
                  <a:cubicBezTo>
                    <a:pt x="246" y="90"/>
                    <a:pt x="233" y="85"/>
                    <a:pt x="218" y="82"/>
                  </a:cubicBezTo>
                  <a:cubicBezTo>
                    <a:pt x="195" y="75"/>
                    <a:pt x="172" y="75"/>
                    <a:pt x="148" y="80"/>
                  </a:cubicBezTo>
                  <a:cubicBezTo>
                    <a:pt x="125" y="87"/>
                    <a:pt x="110" y="105"/>
                    <a:pt x="120" y="126"/>
                  </a:cubicBezTo>
                  <a:cubicBezTo>
                    <a:pt x="123" y="134"/>
                    <a:pt x="133" y="144"/>
                    <a:pt x="141" y="149"/>
                  </a:cubicBezTo>
                  <a:cubicBezTo>
                    <a:pt x="159" y="159"/>
                    <a:pt x="179" y="167"/>
                    <a:pt x="197" y="175"/>
                  </a:cubicBezTo>
                  <a:cubicBezTo>
                    <a:pt x="220" y="182"/>
                    <a:pt x="243" y="195"/>
                    <a:pt x="261" y="210"/>
                  </a:cubicBezTo>
                  <a:cubicBezTo>
                    <a:pt x="315" y="257"/>
                    <a:pt x="310" y="344"/>
                    <a:pt x="251" y="387"/>
                  </a:cubicBezTo>
                  <a:cubicBezTo>
                    <a:pt x="225" y="408"/>
                    <a:pt x="195" y="416"/>
                    <a:pt x="161" y="418"/>
                  </a:cubicBezTo>
                  <a:cubicBezTo>
                    <a:pt x="115" y="423"/>
                    <a:pt x="72" y="418"/>
                    <a:pt x="28" y="400"/>
                  </a:cubicBezTo>
                  <a:cubicBezTo>
                    <a:pt x="25" y="398"/>
                    <a:pt x="23" y="398"/>
                    <a:pt x="18" y="395"/>
                  </a:cubicBezTo>
                  <a:close/>
                </a:path>
              </a:pathLst>
            </a:custGeom>
            <a:solidFill>
              <a:srgbClr val="22419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9" name="Freeform 19"/>
            <p:cNvSpPr>
              <a:spLocks/>
            </p:cNvSpPr>
            <p:nvPr/>
          </p:nvSpPr>
          <p:spPr bwMode="auto">
            <a:xfrm>
              <a:off x="456" y="3875"/>
              <a:ext cx="19" cy="82"/>
            </a:xfrm>
            <a:custGeom>
              <a:avLst/>
              <a:gdLst>
                <a:gd name="T0" fmla="*/ 110 w 110"/>
                <a:gd name="T1" fmla="*/ 0 h 492"/>
                <a:gd name="T2" fmla="*/ 110 w 110"/>
                <a:gd name="T3" fmla="*/ 492 h 492"/>
                <a:gd name="T4" fmla="*/ 0 w 110"/>
                <a:gd name="T5" fmla="*/ 492 h 492"/>
                <a:gd name="T6" fmla="*/ 0 w 110"/>
                <a:gd name="T7" fmla="*/ 0 h 492"/>
                <a:gd name="T8" fmla="*/ 110 w 110"/>
                <a:gd name="T9" fmla="*/ 0 h 4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0" h="492">
                  <a:moveTo>
                    <a:pt x="110" y="0"/>
                  </a:moveTo>
                  <a:cubicBezTo>
                    <a:pt x="110" y="166"/>
                    <a:pt x="110" y="328"/>
                    <a:pt x="110" y="492"/>
                  </a:cubicBezTo>
                  <a:cubicBezTo>
                    <a:pt x="74" y="492"/>
                    <a:pt x="36" y="492"/>
                    <a:pt x="0" y="492"/>
                  </a:cubicBezTo>
                  <a:cubicBezTo>
                    <a:pt x="0" y="328"/>
                    <a:pt x="0" y="164"/>
                    <a:pt x="0" y="0"/>
                  </a:cubicBezTo>
                  <a:cubicBezTo>
                    <a:pt x="36" y="0"/>
                    <a:pt x="74" y="0"/>
                    <a:pt x="110" y="0"/>
                  </a:cubicBezTo>
                  <a:close/>
                </a:path>
              </a:pathLst>
            </a:custGeom>
            <a:solidFill>
              <a:srgbClr val="EC1D2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0" name="Freeform 20"/>
            <p:cNvSpPr>
              <a:spLocks/>
            </p:cNvSpPr>
            <p:nvPr/>
          </p:nvSpPr>
          <p:spPr bwMode="auto">
            <a:xfrm>
              <a:off x="323" y="3971"/>
              <a:ext cx="35" cy="69"/>
            </a:xfrm>
            <a:custGeom>
              <a:avLst/>
              <a:gdLst>
                <a:gd name="T0" fmla="*/ 0 w 212"/>
                <a:gd name="T1" fmla="*/ 402 h 415"/>
                <a:gd name="T2" fmla="*/ 10 w 212"/>
                <a:gd name="T3" fmla="*/ 331 h 415"/>
                <a:gd name="T4" fmla="*/ 61 w 212"/>
                <a:gd name="T5" fmla="*/ 336 h 415"/>
                <a:gd name="T6" fmla="*/ 117 w 212"/>
                <a:gd name="T7" fmla="*/ 285 h 415"/>
                <a:gd name="T8" fmla="*/ 120 w 212"/>
                <a:gd name="T9" fmla="*/ 249 h 415"/>
                <a:gd name="T10" fmla="*/ 120 w 212"/>
                <a:gd name="T11" fmla="*/ 13 h 415"/>
                <a:gd name="T12" fmla="*/ 120 w 212"/>
                <a:gd name="T13" fmla="*/ 0 h 415"/>
                <a:gd name="T14" fmla="*/ 212 w 212"/>
                <a:gd name="T15" fmla="*/ 0 h 415"/>
                <a:gd name="T16" fmla="*/ 212 w 212"/>
                <a:gd name="T17" fmla="*/ 10 h 415"/>
                <a:gd name="T18" fmla="*/ 212 w 212"/>
                <a:gd name="T19" fmla="*/ 261 h 415"/>
                <a:gd name="T20" fmla="*/ 202 w 212"/>
                <a:gd name="T21" fmla="*/ 331 h 415"/>
                <a:gd name="T22" fmla="*/ 123 w 212"/>
                <a:gd name="T23" fmla="*/ 405 h 415"/>
                <a:gd name="T24" fmla="*/ 0 w 212"/>
                <a:gd name="T25" fmla="*/ 402 h 4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12" h="415">
                  <a:moveTo>
                    <a:pt x="0" y="402"/>
                  </a:moveTo>
                  <a:cubicBezTo>
                    <a:pt x="5" y="377"/>
                    <a:pt x="7" y="354"/>
                    <a:pt x="10" y="331"/>
                  </a:cubicBezTo>
                  <a:cubicBezTo>
                    <a:pt x="28" y="331"/>
                    <a:pt x="43" y="333"/>
                    <a:pt x="61" y="336"/>
                  </a:cubicBezTo>
                  <a:cubicBezTo>
                    <a:pt x="94" y="336"/>
                    <a:pt x="112" y="318"/>
                    <a:pt x="117" y="285"/>
                  </a:cubicBezTo>
                  <a:cubicBezTo>
                    <a:pt x="120" y="272"/>
                    <a:pt x="120" y="259"/>
                    <a:pt x="120" y="249"/>
                  </a:cubicBezTo>
                  <a:cubicBezTo>
                    <a:pt x="120" y="169"/>
                    <a:pt x="120" y="90"/>
                    <a:pt x="120" y="13"/>
                  </a:cubicBezTo>
                  <a:cubicBezTo>
                    <a:pt x="120" y="8"/>
                    <a:pt x="120" y="5"/>
                    <a:pt x="120" y="0"/>
                  </a:cubicBezTo>
                  <a:cubicBezTo>
                    <a:pt x="151" y="0"/>
                    <a:pt x="182" y="0"/>
                    <a:pt x="212" y="0"/>
                  </a:cubicBezTo>
                  <a:cubicBezTo>
                    <a:pt x="212" y="3"/>
                    <a:pt x="212" y="8"/>
                    <a:pt x="212" y="10"/>
                  </a:cubicBezTo>
                  <a:cubicBezTo>
                    <a:pt x="212" y="95"/>
                    <a:pt x="212" y="177"/>
                    <a:pt x="212" y="261"/>
                  </a:cubicBezTo>
                  <a:cubicBezTo>
                    <a:pt x="212" y="285"/>
                    <a:pt x="207" y="308"/>
                    <a:pt x="202" y="331"/>
                  </a:cubicBezTo>
                  <a:cubicBezTo>
                    <a:pt x="189" y="369"/>
                    <a:pt x="164" y="395"/>
                    <a:pt x="123" y="405"/>
                  </a:cubicBezTo>
                  <a:cubicBezTo>
                    <a:pt x="82" y="415"/>
                    <a:pt x="43" y="413"/>
                    <a:pt x="0" y="402"/>
                  </a:cubicBezTo>
                  <a:close/>
                </a:path>
              </a:pathLst>
            </a:custGeom>
            <a:solidFill>
              <a:srgbClr val="22419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1" name="Freeform 21"/>
            <p:cNvSpPr>
              <a:spLocks/>
            </p:cNvSpPr>
            <p:nvPr/>
          </p:nvSpPr>
          <p:spPr bwMode="auto">
            <a:xfrm>
              <a:off x="554" y="3820"/>
              <a:ext cx="28" cy="36"/>
            </a:xfrm>
            <a:custGeom>
              <a:avLst/>
              <a:gdLst>
                <a:gd name="T0" fmla="*/ 36 w 169"/>
                <a:gd name="T1" fmla="*/ 56 h 218"/>
                <a:gd name="T2" fmla="*/ 36 w 169"/>
                <a:gd name="T3" fmla="*/ 218 h 218"/>
                <a:gd name="T4" fmla="*/ 0 w 169"/>
                <a:gd name="T5" fmla="*/ 218 h 218"/>
                <a:gd name="T6" fmla="*/ 0 w 169"/>
                <a:gd name="T7" fmla="*/ 0 h 218"/>
                <a:gd name="T8" fmla="*/ 41 w 169"/>
                <a:gd name="T9" fmla="*/ 0 h 218"/>
                <a:gd name="T10" fmla="*/ 49 w 169"/>
                <a:gd name="T11" fmla="*/ 8 h 218"/>
                <a:gd name="T12" fmla="*/ 133 w 169"/>
                <a:gd name="T13" fmla="*/ 156 h 218"/>
                <a:gd name="T14" fmla="*/ 133 w 169"/>
                <a:gd name="T15" fmla="*/ 156 h 218"/>
                <a:gd name="T16" fmla="*/ 133 w 169"/>
                <a:gd name="T17" fmla="*/ 3 h 218"/>
                <a:gd name="T18" fmla="*/ 169 w 169"/>
                <a:gd name="T19" fmla="*/ 3 h 218"/>
                <a:gd name="T20" fmla="*/ 169 w 169"/>
                <a:gd name="T21" fmla="*/ 218 h 218"/>
                <a:gd name="T22" fmla="*/ 133 w 169"/>
                <a:gd name="T23" fmla="*/ 218 h 218"/>
                <a:gd name="T24" fmla="*/ 126 w 169"/>
                <a:gd name="T25" fmla="*/ 210 h 218"/>
                <a:gd name="T26" fmla="*/ 36 w 169"/>
                <a:gd name="T27" fmla="*/ 56 h 2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69" h="218">
                  <a:moveTo>
                    <a:pt x="36" y="56"/>
                  </a:moveTo>
                  <a:cubicBezTo>
                    <a:pt x="36" y="108"/>
                    <a:pt x="36" y="162"/>
                    <a:pt x="36" y="218"/>
                  </a:cubicBezTo>
                  <a:cubicBezTo>
                    <a:pt x="23" y="218"/>
                    <a:pt x="13" y="218"/>
                    <a:pt x="0" y="218"/>
                  </a:cubicBezTo>
                  <a:cubicBezTo>
                    <a:pt x="0" y="146"/>
                    <a:pt x="0" y="74"/>
                    <a:pt x="0" y="0"/>
                  </a:cubicBezTo>
                  <a:cubicBezTo>
                    <a:pt x="13" y="0"/>
                    <a:pt x="28" y="0"/>
                    <a:pt x="41" y="0"/>
                  </a:cubicBezTo>
                  <a:cubicBezTo>
                    <a:pt x="44" y="3"/>
                    <a:pt x="46" y="5"/>
                    <a:pt x="49" y="8"/>
                  </a:cubicBezTo>
                  <a:cubicBezTo>
                    <a:pt x="77" y="59"/>
                    <a:pt x="105" y="108"/>
                    <a:pt x="133" y="156"/>
                  </a:cubicBezTo>
                  <a:cubicBezTo>
                    <a:pt x="133" y="156"/>
                    <a:pt x="133" y="156"/>
                    <a:pt x="133" y="156"/>
                  </a:cubicBezTo>
                  <a:cubicBezTo>
                    <a:pt x="133" y="105"/>
                    <a:pt x="133" y="54"/>
                    <a:pt x="133" y="3"/>
                  </a:cubicBezTo>
                  <a:cubicBezTo>
                    <a:pt x="146" y="3"/>
                    <a:pt x="157" y="3"/>
                    <a:pt x="169" y="3"/>
                  </a:cubicBezTo>
                  <a:cubicBezTo>
                    <a:pt x="169" y="72"/>
                    <a:pt x="169" y="144"/>
                    <a:pt x="169" y="218"/>
                  </a:cubicBezTo>
                  <a:cubicBezTo>
                    <a:pt x="157" y="218"/>
                    <a:pt x="146" y="218"/>
                    <a:pt x="133" y="218"/>
                  </a:cubicBezTo>
                  <a:cubicBezTo>
                    <a:pt x="131" y="218"/>
                    <a:pt x="126" y="213"/>
                    <a:pt x="126" y="210"/>
                  </a:cubicBezTo>
                  <a:cubicBezTo>
                    <a:pt x="95" y="159"/>
                    <a:pt x="64" y="108"/>
                    <a:pt x="36" y="56"/>
                  </a:cubicBezTo>
                  <a:close/>
                </a:path>
              </a:pathLst>
            </a:custGeom>
            <a:solidFill>
              <a:srgbClr val="22419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2" name="Freeform 22"/>
            <p:cNvSpPr>
              <a:spLocks/>
            </p:cNvSpPr>
            <p:nvPr/>
          </p:nvSpPr>
          <p:spPr bwMode="auto">
            <a:xfrm>
              <a:off x="448" y="3820"/>
              <a:ext cx="28" cy="36"/>
            </a:xfrm>
            <a:custGeom>
              <a:avLst/>
              <a:gdLst>
                <a:gd name="T0" fmla="*/ 33 w 169"/>
                <a:gd name="T1" fmla="*/ 218 h 218"/>
                <a:gd name="T2" fmla="*/ 0 w 169"/>
                <a:gd name="T3" fmla="*/ 218 h 218"/>
                <a:gd name="T4" fmla="*/ 0 w 169"/>
                <a:gd name="T5" fmla="*/ 0 h 218"/>
                <a:gd name="T6" fmla="*/ 41 w 169"/>
                <a:gd name="T7" fmla="*/ 0 h 218"/>
                <a:gd name="T8" fmla="*/ 48 w 169"/>
                <a:gd name="T9" fmla="*/ 8 h 218"/>
                <a:gd name="T10" fmla="*/ 133 w 169"/>
                <a:gd name="T11" fmla="*/ 154 h 218"/>
                <a:gd name="T12" fmla="*/ 133 w 169"/>
                <a:gd name="T13" fmla="*/ 3 h 218"/>
                <a:gd name="T14" fmla="*/ 169 w 169"/>
                <a:gd name="T15" fmla="*/ 3 h 218"/>
                <a:gd name="T16" fmla="*/ 169 w 169"/>
                <a:gd name="T17" fmla="*/ 218 h 218"/>
                <a:gd name="T18" fmla="*/ 130 w 169"/>
                <a:gd name="T19" fmla="*/ 218 h 218"/>
                <a:gd name="T20" fmla="*/ 125 w 169"/>
                <a:gd name="T21" fmla="*/ 210 h 218"/>
                <a:gd name="T22" fmla="*/ 33 w 169"/>
                <a:gd name="T23" fmla="*/ 56 h 218"/>
                <a:gd name="T24" fmla="*/ 33 w 169"/>
                <a:gd name="T25" fmla="*/ 218 h 2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69" h="218">
                  <a:moveTo>
                    <a:pt x="33" y="218"/>
                  </a:moveTo>
                  <a:cubicBezTo>
                    <a:pt x="23" y="218"/>
                    <a:pt x="10" y="218"/>
                    <a:pt x="0" y="218"/>
                  </a:cubicBezTo>
                  <a:cubicBezTo>
                    <a:pt x="0" y="146"/>
                    <a:pt x="0" y="74"/>
                    <a:pt x="0" y="0"/>
                  </a:cubicBezTo>
                  <a:cubicBezTo>
                    <a:pt x="13" y="0"/>
                    <a:pt x="25" y="0"/>
                    <a:pt x="41" y="0"/>
                  </a:cubicBezTo>
                  <a:cubicBezTo>
                    <a:pt x="43" y="3"/>
                    <a:pt x="46" y="5"/>
                    <a:pt x="48" y="8"/>
                  </a:cubicBezTo>
                  <a:cubicBezTo>
                    <a:pt x="77" y="59"/>
                    <a:pt x="107" y="108"/>
                    <a:pt x="133" y="154"/>
                  </a:cubicBezTo>
                  <a:cubicBezTo>
                    <a:pt x="133" y="108"/>
                    <a:pt x="133" y="54"/>
                    <a:pt x="133" y="3"/>
                  </a:cubicBezTo>
                  <a:cubicBezTo>
                    <a:pt x="146" y="3"/>
                    <a:pt x="156" y="3"/>
                    <a:pt x="169" y="3"/>
                  </a:cubicBezTo>
                  <a:cubicBezTo>
                    <a:pt x="169" y="74"/>
                    <a:pt x="169" y="144"/>
                    <a:pt x="169" y="218"/>
                  </a:cubicBezTo>
                  <a:cubicBezTo>
                    <a:pt x="156" y="218"/>
                    <a:pt x="143" y="218"/>
                    <a:pt x="130" y="218"/>
                  </a:cubicBezTo>
                  <a:cubicBezTo>
                    <a:pt x="128" y="218"/>
                    <a:pt x="125" y="213"/>
                    <a:pt x="125" y="210"/>
                  </a:cubicBezTo>
                  <a:cubicBezTo>
                    <a:pt x="95" y="159"/>
                    <a:pt x="64" y="105"/>
                    <a:pt x="33" y="56"/>
                  </a:cubicBezTo>
                  <a:cubicBezTo>
                    <a:pt x="33" y="108"/>
                    <a:pt x="33" y="162"/>
                    <a:pt x="33" y="218"/>
                  </a:cubicBezTo>
                  <a:close/>
                </a:path>
              </a:pathLst>
            </a:custGeom>
            <a:solidFill>
              <a:srgbClr val="22419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3" name="Freeform 23"/>
            <p:cNvSpPr>
              <a:spLocks/>
            </p:cNvSpPr>
            <p:nvPr/>
          </p:nvSpPr>
          <p:spPr bwMode="auto">
            <a:xfrm>
              <a:off x="286" y="3820"/>
              <a:ext cx="28" cy="36"/>
            </a:xfrm>
            <a:custGeom>
              <a:avLst/>
              <a:gdLst>
                <a:gd name="T0" fmla="*/ 134 w 170"/>
                <a:gd name="T1" fmla="*/ 154 h 218"/>
                <a:gd name="T2" fmla="*/ 134 w 170"/>
                <a:gd name="T3" fmla="*/ 3 h 218"/>
                <a:gd name="T4" fmla="*/ 170 w 170"/>
                <a:gd name="T5" fmla="*/ 3 h 218"/>
                <a:gd name="T6" fmla="*/ 170 w 170"/>
                <a:gd name="T7" fmla="*/ 218 h 218"/>
                <a:gd name="T8" fmla="*/ 131 w 170"/>
                <a:gd name="T9" fmla="*/ 218 h 218"/>
                <a:gd name="T10" fmla="*/ 123 w 170"/>
                <a:gd name="T11" fmla="*/ 208 h 218"/>
                <a:gd name="T12" fmla="*/ 36 w 170"/>
                <a:gd name="T13" fmla="*/ 56 h 218"/>
                <a:gd name="T14" fmla="*/ 36 w 170"/>
                <a:gd name="T15" fmla="*/ 218 h 218"/>
                <a:gd name="T16" fmla="*/ 0 w 170"/>
                <a:gd name="T17" fmla="*/ 218 h 218"/>
                <a:gd name="T18" fmla="*/ 0 w 170"/>
                <a:gd name="T19" fmla="*/ 0 h 218"/>
                <a:gd name="T20" fmla="*/ 41 w 170"/>
                <a:gd name="T21" fmla="*/ 3 h 218"/>
                <a:gd name="T22" fmla="*/ 49 w 170"/>
                <a:gd name="T23" fmla="*/ 10 h 218"/>
                <a:gd name="T24" fmla="*/ 134 w 170"/>
                <a:gd name="T25" fmla="*/ 154 h 2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70" h="218">
                  <a:moveTo>
                    <a:pt x="134" y="154"/>
                  </a:moveTo>
                  <a:cubicBezTo>
                    <a:pt x="134" y="108"/>
                    <a:pt x="134" y="54"/>
                    <a:pt x="134" y="3"/>
                  </a:cubicBezTo>
                  <a:cubicBezTo>
                    <a:pt x="146" y="3"/>
                    <a:pt x="157" y="3"/>
                    <a:pt x="170" y="3"/>
                  </a:cubicBezTo>
                  <a:cubicBezTo>
                    <a:pt x="170" y="74"/>
                    <a:pt x="170" y="144"/>
                    <a:pt x="170" y="218"/>
                  </a:cubicBezTo>
                  <a:cubicBezTo>
                    <a:pt x="157" y="218"/>
                    <a:pt x="144" y="218"/>
                    <a:pt x="131" y="218"/>
                  </a:cubicBezTo>
                  <a:cubicBezTo>
                    <a:pt x="129" y="218"/>
                    <a:pt x="126" y="213"/>
                    <a:pt x="123" y="208"/>
                  </a:cubicBezTo>
                  <a:cubicBezTo>
                    <a:pt x="93" y="159"/>
                    <a:pt x="64" y="108"/>
                    <a:pt x="36" y="56"/>
                  </a:cubicBezTo>
                  <a:cubicBezTo>
                    <a:pt x="36" y="108"/>
                    <a:pt x="36" y="162"/>
                    <a:pt x="36" y="218"/>
                  </a:cubicBezTo>
                  <a:cubicBezTo>
                    <a:pt x="23" y="218"/>
                    <a:pt x="11" y="218"/>
                    <a:pt x="0" y="218"/>
                  </a:cubicBezTo>
                  <a:cubicBezTo>
                    <a:pt x="0" y="146"/>
                    <a:pt x="0" y="74"/>
                    <a:pt x="0" y="0"/>
                  </a:cubicBezTo>
                  <a:cubicBezTo>
                    <a:pt x="13" y="0"/>
                    <a:pt x="26" y="0"/>
                    <a:pt x="41" y="3"/>
                  </a:cubicBezTo>
                  <a:cubicBezTo>
                    <a:pt x="44" y="3"/>
                    <a:pt x="47" y="5"/>
                    <a:pt x="49" y="10"/>
                  </a:cubicBezTo>
                  <a:cubicBezTo>
                    <a:pt x="77" y="59"/>
                    <a:pt x="108" y="108"/>
                    <a:pt x="134" y="154"/>
                  </a:cubicBezTo>
                  <a:close/>
                </a:path>
              </a:pathLst>
            </a:custGeom>
            <a:solidFill>
              <a:srgbClr val="22419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4" name="Freeform 24"/>
            <p:cNvSpPr>
              <a:spLocks/>
            </p:cNvSpPr>
            <p:nvPr/>
          </p:nvSpPr>
          <p:spPr bwMode="auto">
            <a:xfrm>
              <a:off x="480" y="3818"/>
              <a:ext cx="32" cy="39"/>
            </a:xfrm>
            <a:custGeom>
              <a:avLst/>
              <a:gdLst>
                <a:gd name="T0" fmla="*/ 184 w 192"/>
                <a:gd name="T1" fmla="*/ 16 h 231"/>
                <a:gd name="T2" fmla="*/ 176 w 192"/>
                <a:gd name="T3" fmla="*/ 49 h 231"/>
                <a:gd name="T4" fmla="*/ 107 w 192"/>
                <a:gd name="T5" fmla="*/ 41 h 231"/>
                <a:gd name="T6" fmla="*/ 51 w 192"/>
                <a:gd name="T7" fmla="*/ 103 h 231"/>
                <a:gd name="T8" fmla="*/ 82 w 192"/>
                <a:gd name="T9" fmla="*/ 185 h 231"/>
                <a:gd name="T10" fmla="*/ 146 w 192"/>
                <a:gd name="T11" fmla="*/ 193 h 231"/>
                <a:gd name="T12" fmla="*/ 153 w 192"/>
                <a:gd name="T13" fmla="*/ 185 h 231"/>
                <a:gd name="T14" fmla="*/ 153 w 192"/>
                <a:gd name="T15" fmla="*/ 139 h 231"/>
                <a:gd name="T16" fmla="*/ 115 w 192"/>
                <a:gd name="T17" fmla="*/ 139 h 231"/>
                <a:gd name="T18" fmla="*/ 115 w 192"/>
                <a:gd name="T19" fmla="*/ 105 h 231"/>
                <a:gd name="T20" fmla="*/ 125 w 192"/>
                <a:gd name="T21" fmla="*/ 105 h 231"/>
                <a:gd name="T22" fmla="*/ 192 w 192"/>
                <a:gd name="T23" fmla="*/ 105 h 231"/>
                <a:gd name="T24" fmla="*/ 192 w 192"/>
                <a:gd name="T25" fmla="*/ 113 h 231"/>
                <a:gd name="T26" fmla="*/ 192 w 192"/>
                <a:gd name="T27" fmla="*/ 205 h 231"/>
                <a:gd name="T28" fmla="*/ 184 w 192"/>
                <a:gd name="T29" fmla="*/ 218 h 231"/>
                <a:gd name="T30" fmla="*/ 84 w 192"/>
                <a:gd name="T31" fmla="*/ 223 h 231"/>
                <a:gd name="T32" fmla="*/ 7 w 192"/>
                <a:gd name="T33" fmla="*/ 139 h 231"/>
                <a:gd name="T34" fmla="*/ 61 w 192"/>
                <a:gd name="T35" fmla="*/ 23 h 231"/>
                <a:gd name="T36" fmla="*/ 184 w 192"/>
                <a:gd name="T37" fmla="*/ 16 h 2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92" h="231">
                  <a:moveTo>
                    <a:pt x="184" y="16"/>
                  </a:moveTo>
                  <a:cubicBezTo>
                    <a:pt x="182" y="29"/>
                    <a:pt x="179" y="39"/>
                    <a:pt x="176" y="49"/>
                  </a:cubicBezTo>
                  <a:cubicBezTo>
                    <a:pt x="153" y="41"/>
                    <a:pt x="130" y="39"/>
                    <a:pt x="107" y="41"/>
                  </a:cubicBezTo>
                  <a:cubicBezTo>
                    <a:pt x="74" y="49"/>
                    <a:pt x="53" y="70"/>
                    <a:pt x="51" y="103"/>
                  </a:cubicBezTo>
                  <a:cubicBezTo>
                    <a:pt x="46" y="136"/>
                    <a:pt x="51" y="164"/>
                    <a:pt x="82" y="185"/>
                  </a:cubicBezTo>
                  <a:cubicBezTo>
                    <a:pt x="102" y="198"/>
                    <a:pt x="125" y="198"/>
                    <a:pt x="146" y="193"/>
                  </a:cubicBezTo>
                  <a:cubicBezTo>
                    <a:pt x="148" y="193"/>
                    <a:pt x="153" y="188"/>
                    <a:pt x="153" y="185"/>
                  </a:cubicBezTo>
                  <a:cubicBezTo>
                    <a:pt x="153" y="170"/>
                    <a:pt x="153" y="154"/>
                    <a:pt x="153" y="139"/>
                  </a:cubicBezTo>
                  <a:cubicBezTo>
                    <a:pt x="141" y="139"/>
                    <a:pt x="128" y="139"/>
                    <a:pt x="115" y="139"/>
                  </a:cubicBezTo>
                  <a:cubicBezTo>
                    <a:pt x="115" y="126"/>
                    <a:pt x="115" y="116"/>
                    <a:pt x="115" y="105"/>
                  </a:cubicBezTo>
                  <a:cubicBezTo>
                    <a:pt x="120" y="105"/>
                    <a:pt x="123" y="105"/>
                    <a:pt x="125" y="105"/>
                  </a:cubicBezTo>
                  <a:cubicBezTo>
                    <a:pt x="148" y="105"/>
                    <a:pt x="169" y="105"/>
                    <a:pt x="192" y="105"/>
                  </a:cubicBezTo>
                  <a:cubicBezTo>
                    <a:pt x="192" y="108"/>
                    <a:pt x="192" y="111"/>
                    <a:pt x="192" y="113"/>
                  </a:cubicBezTo>
                  <a:cubicBezTo>
                    <a:pt x="192" y="144"/>
                    <a:pt x="192" y="175"/>
                    <a:pt x="192" y="205"/>
                  </a:cubicBezTo>
                  <a:cubicBezTo>
                    <a:pt x="192" y="213"/>
                    <a:pt x="192" y="216"/>
                    <a:pt x="184" y="218"/>
                  </a:cubicBezTo>
                  <a:cubicBezTo>
                    <a:pt x="151" y="229"/>
                    <a:pt x="117" y="231"/>
                    <a:pt x="84" y="223"/>
                  </a:cubicBezTo>
                  <a:cubicBezTo>
                    <a:pt x="41" y="213"/>
                    <a:pt x="15" y="185"/>
                    <a:pt x="7" y="139"/>
                  </a:cubicBezTo>
                  <a:cubicBezTo>
                    <a:pt x="0" y="90"/>
                    <a:pt x="20" y="44"/>
                    <a:pt x="61" y="23"/>
                  </a:cubicBezTo>
                  <a:cubicBezTo>
                    <a:pt x="100" y="0"/>
                    <a:pt x="143" y="3"/>
                    <a:pt x="184" y="16"/>
                  </a:cubicBezTo>
                  <a:close/>
                </a:path>
              </a:pathLst>
            </a:custGeom>
            <a:solidFill>
              <a:srgbClr val="22419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5" name="Freeform 25"/>
            <p:cNvSpPr>
              <a:spLocks/>
            </p:cNvSpPr>
            <p:nvPr/>
          </p:nvSpPr>
          <p:spPr bwMode="auto">
            <a:xfrm>
              <a:off x="352" y="3820"/>
              <a:ext cx="22" cy="36"/>
            </a:xfrm>
            <a:custGeom>
              <a:avLst/>
              <a:gdLst>
                <a:gd name="T0" fmla="*/ 0 w 131"/>
                <a:gd name="T1" fmla="*/ 0 h 215"/>
                <a:gd name="T2" fmla="*/ 126 w 131"/>
                <a:gd name="T3" fmla="*/ 0 h 215"/>
                <a:gd name="T4" fmla="*/ 126 w 131"/>
                <a:gd name="T5" fmla="*/ 30 h 215"/>
                <a:gd name="T6" fmla="*/ 41 w 131"/>
                <a:gd name="T7" fmla="*/ 30 h 215"/>
                <a:gd name="T8" fmla="*/ 41 w 131"/>
                <a:gd name="T9" fmla="*/ 87 h 215"/>
                <a:gd name="T10" fmla="*/ 121 w 131"/>
                <a:gd name="T11" fmla="*/ 87 h 215"/>
                <a:gd name="T12" fmla="*/ 121 w 131"/>
                <a:gd name="T13" fmla="*/ 120 h 215"/>
                <a:gd name="T14" fmla="*/ 41 w 131"/>
                <a:gd name="T15" fmla="*/ 120 h 215"/>
                <a:gd name="T16" fmla="*/ 41 w 131"/>
                <a:gd name="T17" fmla="*/ 182 h 215"/>
                <a:gd name="T18" fmla="*/ 131 w 131"/>
                <a:gd name="T19" fmla="*/ 182 h 215"/>
                <a:gd name="T20" fmla="*/ 131 w 131"/>
                <a:gd name="T21" fmla="*/ 215 h 215"/>
                <a:gd name="T22" fmla="*/ 0 w 131"/>
                <a:gd name="T23" fmla="*/ 215 h 215"/>
                <a:gd name="T24" fmla="*/ 0 w 131"/>
                <a:gd name="T25" fmla="*/ 0 h 2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31" h="215">
                  <a:moveTo>
                    <a:pt x="0" y="0"/>
                  </a:moveTo>
                  <a:cubicBezTo>
                    <a:pt x="41" y="0"/>
                    <a:pt x="85" y="0"/>
                    <a:pt x="126" y="0"/>
                  </a:cubicBezTo>
                  <a:cubicBezTo>
                    <a:pt x="126" y="10"/>
                    <a:pt x="126" y="20"/>
                    <a:pt x="126" y="30"/>
                  </a:cubicBezTo>
                  <a:cubicBezTo>
                    <a:pt x="98" y="30"/>
                    <a:pt x="70" y="30"/>
                    <a:pt x="41" y="30"/>
                  </a:cubicBezTo>
                  <a:cubicBezTo>
                    <a:pt x="41" y="48"/>
                    <a:pt x="41" y="66"/>
                    <a:pt x="41" y="87"/>
                  </a:cubicBezTo>
                  <a:cubicBezTo>
                    <a:pt x="67" y="87"/>
                    <a:pt x="93" y="87"/>
                    <a:pt x="121" y="87"/>
                  </a:cubicBezTo>
                  <a:cubicBezTo>
                    <a:pt x="121" y="97"/>
                    <a:pt x="121" y="107"/>
                    <a:pt x="121" y="120"/>
                  </a:cubicBezTo>
                  <a:cubicBezTo>
                    <a:pt x="95" y="120"/>
                    <a:pt x="67" y="120"/>
                    <a:pt x="41" y="120"/>
                  </a:cubicBezTo>
                  <a:cubicBezTo>
                    <a:pt x="41" y="141"/>
                    <a:pt x="41" y="161"/>
                    <a:pt x="41" y="182"/>
                  </a:cubicBezTo>
                  <a:cubicBezTo>
                    <a:pt x="72" y="182"/>
                    <a:pt x="100" y="182"/>
                    <a:pt x="131" y="182"/>
                  </a:cubicBezTo>
                  <a:cubicBezTo>
                    <a:pt x="131" y="192"/>
                    <a:pt x="131" y="202"/>
                    <a:pt x="131" y="215"/>
                  </a:cubicBezTo>
                  <a:cubicBezTo>
                    <a:pt x="88" y="215"/>
                    <a:pt x="44" y="215"/>
                    <a:pt x="0" y="215"/>
                  </a:cubicBezTo>
                  <a:cubicBezTo>
                    <a:pt x="0" y="143"/>
                    <a:pt x="0" y="71"/>
                    <a:pt x="0" y="0"/>
                  </a:cubicBezTo>
                  <a:close/>
                </a:path>
              </a:pathLst>
            </a:custGeom>
            <a:solidFill>
              <a:srgbClr val="22419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6" name="Freeform 26"/>
            <p:cNvSpPr>
              <a:spLocks/>
            </p:cNvSpPr>
            <p:nvPr/>
          </p:nvSpPr>
          <p:spPr bwMode="auto">
            <a:xfrm>
              <a:off x="318" y="3820"/>
              <a:ext cx="31" cy="36"/>
            </a:xfrm>
            <a:custGeom>
              <a:avLst/>
              <a:gdLst>
                <a:gd name="T0" fmla="*/ 94 w 189"/>
                <a:gd name="T1" fmla="*/ 172 h 218"/>
                <a:gd name="T2" fmla="*/ 148 w 189"/>
                <a:gd name="T3" fmla="*/ 0 h 218"/>
                <a:gd name="T4" fmla="*/ 189 w 189"/>
                <a:gd name="T5" fmla="*/ 0 h 218"/>
                <a:gd name="T6" fmla="*/ 174 w 189"/>
                <a:gd name="T7" fmla="*/ 51 h 218"/>
                <a:gd name="T8" fmla="*/ 118 w 189"/>
                <a:gd name="T9" fmla="*/ 210 h 218"/>
                <a:gd name="T10" fmla="*/ 107 w 189"/>
                <a:gd name="T11" fmla="*/ 218 h 218"/>
                <a:gd name="T12" fmla="*/ 97 w 189"/>
                <a:gd name="T13" fmla="*/ 218 h 218"/>
                <a:gd name="T14" fmla="*/ 61 w 189"/>
                <a:gd name="T15" fmla="*/ 192 h 218"/>
                <a:gd name="T16" fmla="*/ 2 w 189"/>
                <a:gd name="T17" fmla="*/ 13 h 218"/>
                <a:gd name="T18" fmla="*/ 0 w 189"/>
                <a:gd name="T19" fmla="*/ 0 h 218"/>
                <a:gd name="T20" fmla="*/ 38 w 189"/>
                <a:gd name="T21" fmla="*/ 3 h 218"/>
                <a:gd name="T22" fmla="*/ 46 w 189"/>
                <a:gd name="T23" fmla="*/ 10 h 218"/>
                <a:gd name="T24" fmla="*/ 92 w 189"/>
                <a:gd name="T25" fmla="*/ 164 h 218"/>
                <a:gd name="T26" fmla="*/ 94 w 189"/>
                <a:gd name="T27" fmla="*/ 172 h 2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89" h="218">
                  <a:moveTo>
                    <a:pt x="94" y="172"/>
                  </a:moveTo>
                  <a:cubicBezTo>
                    <a:pt x="112" y="113"/>
                    <a:pt x="130" y="56"/>
                    <a:pt x="148" y="0"/>
                  </a:cubicBezTo>
                  <a:cubicBezTo>
                    <a:pt x="161" y="0"/>
                    <a:pt x="177" y="0"/>
                    <a:pt x="189" y="0"/>
                  </a:cubicBezTo>
                  <a:cubicBezTo>
                    <a:pt x="184" y="18"/>
                    <a:pt x="179" y="33"/>
                    <a:pt x="174" y="51"/>
                  </a:cubicBezTo>
                  <a:cubicBezTo>
                    <a:pt x="156" y="103"/>
                    <a:pt x="135" y="156"/>
                    <a:pt x="118" y="210"/>
                  </a:cubicBezTo>
                  <a:cubicBezTo>
                    <a:pt x="118" y="215"/>
                    <a:pt x="115" y="218"/>
                    <a:pt x="107" y="218"/>
                  </a:cubicBezTo>
                  <a:cubicBezTo>
                    <a:pt x="105" y="218"/>
                    <a:pt x="102" y="218"/>
                    <a:pt x="97" y="218"/>
                  </a:cubicBezTo>
                  <a:cubicBezTo>
                    <a:pt x="69" y="218"/>
                    <a:pt x="69" y="218"/>
                    <a:pt x="61" y="192"/>
                  </a:cubicBezTo>
                  <a:cubicBezTo>
                    <a:pt x="43" y="131"/>
                    <a:pt x="23" y="72"/>
                    <a:pt x="2" y="13"/>
                  </a:cubicBezTo>
                  <a:cubicBezTo>
                    <a:pt x="2" y="10"/>
                    <a:pt x="2" y="5"/>
                    <a:pt x="0" y="0"/>
                  </a:cubicBezTo>
                  <a:cubicBezTo>
                    <a:pt x="12" y="0"/>
                    <a:pt x="25" y="0"/>
                    <a:pt x="38" y="3"/>
                  </a:cubicBezTo>
                  <a:cubicBezTo>
                    <a:pt x="41" y="3"/>
                    <a:pt x="46" y="5"/>
                    <a:pt x="46" y="10"/>
                  </a:cubicBezTo>
                  <a:cubicBezTo>
                    <a:pt x="61" y="62"/>
                    <a:pt x="77" y="113"/>
                    <a:pt x="92" y="164"/>
                  </a:cubicBezTo>
                  <a:cubicBezTo>
                    <a:pt x="92" y="167"/>
                    <a:pt x="92" y="169"/>
                    <a:pt x="94" y="172"/>
                  </a:cubicBezTo>
                  <a:close/>
                </a:path>
              </a:pathLst>
            </a:custGeom>
            <a:solidFill>
              <a:srgbClr val="22419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7" name="Freeform 27"/>
            <p:cNvSpPr>
              <a:spLocks/>
            </p:cNvSpPr>
            <p:nvPr/>
          </p:nvSpPr>
          <p:spPr bwMode="auto">
            <a:xfrm>
              <a:off x="377" y="3819"/>
              <a:ext cx="25" cy="38"/>
            </a:xfrm>
            <a:custGeom>
              <a:avLst/>
              <a:gdLst>
                <a:gd name="T0" fmla="*/ 5 w 149"/>
                <a:gd name="T1" fmla="*/ 213 h 231"/>
                <a:gd name="T2" fmla="*/ 13 w 149"/>
                <a:gd name="T3" fmla="*/ 182 h 231"/>
                <a:gd name="T4" fmla="*/ 67 w 149"/>
                <a:gd name="T5" fmla="*/ 192 h 231"/>
                <a:gd name="T6" fmla="*/ 80 w 149"/>
                <a:gd name="T7" fmla="*/ 192 h 231"/>
                <a:gd name="T8" fmla="*/ 105 w 149"/>
                <a:gd name="T9" fmla="*/ 169 h 231"/>
                <a:gd name="T10" fmla="*/ 90 w 149"/>
                <a:gd name="T11" fmla="*/ 138 h 231"/>
                <a:gd name="T12" fmla="*/ 64 w 149"/>
                <a:gd name="T13" fmla="*/ 128 h 231"/>
                <a:gd name="T14" fmla="*/ 28 w 149"/>
                <a:gd name="T15" fmla="*/ 105 h 231"/>
                <a:gd name="T16" fmla="*/ 28 w 149"/>
                <a:gd name="T17" fmla="*/ 20 h 231"/>
                <a:gd name="T18" fmla="*/ 110 w 149"/>
                <a:gd name="T19" fmla="*/ 5 h 231"/>
                <a:gd name="T20" fmla="*/ 139 w 149"/>
                <a:gd name="T21" fmla="*/ 13 h 231"/>
                <a:gd name="T22" fmla="*/ 128 w 149"/>
                <a:gd name="T23" fmla="*/ 44 h 231"/>
                <a:gd name="T24" fmla="*/ 82 w 149"/>
                <a:gd name="T25" fmla="*/ 36 h 231"/>
                <a:gd name="T26" fmla="*/ 62 w 149"/>
                <a:gd name="T27" fmla="*/ 41 h 231"/>
                <a:gd name="T28" fmla="*/ 56 w 149"/>
                <a:gd name="T29" fmla="*/ 79 h 231"/>
                <a:gd name="T30" fmla="*/ 87 w 149"/>
                <a:gd name="T31" fmla="*/ 95 h 231"/>
                <a:gd name="T32" fmla="*/ 115 w 149"/>
                <a:gd name="T33" fmla="*/ 108 h 231"/>
                <a:gd name="T34" fmla="*/ 146 w 149"/>
                <a:gd name="T35" fmla="*/ 167 h 231"/>
                <a:gd name="T36" fmla="*/ 110 w 149"/>
                <a:gd name="T37" fmla="*/ 218 h 231"/>
                <a:gd name="T38" fmla="*/ 5 w 149"/>
                <a:gd name="T39" fmla="*/ 213 h 2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49" h="231">
                  <a:moveTo>
                    <a:pt x="5" y="213"/>
                  </a:moveTo>
                  <a:cubicBezTo>
                    <a:pt x="8" y="200"/>
                    <a:pt x="10" y="190"/>
                    <a:pt x="13" y="182"/>
                  </a:cubicBezTo>
                  <a:cubicBezTo>
                    <a:pt x="31" y="185"/>
                    <a:pt x="49" y="190"/>
                    <a:pt x="67" y="192"/>
                  </a:cubicBezTo>
                  <a:cubicBezTo>
                    <a:pt x="72" y="192"/>
                    <a:pt x="74" y="192"/>
                    <a:pt x="80" y="192"/>
                  </a:cubicBezTo>
                  <a:cubicBezTo>
                    <a:pt x="92" y="190"/>
                    <a:pt x="103" y="179"/>
                    <a:pt x="105" y="169"/>
                  </a:cubicBezTo>
                  <a:cubicBezTo>
                    <a:pt x="108" y="156"/>
                    <a:pt x="103" y="146"/>
                    <a:pt x="90" y="138"/>
                  </a:cubicBezTo>
                  <a:cubicBezTo>
                    <a:pt x="82" y="133"/>
                    <a:pt x="72" y="131"/>
                    <a:pt x="64" y="128"/>
                  </a:cubicBezTo>
                  <a:cubicBezTo>
                    <a:pt x="51" y="120"/>
                    <a:pt x="39" y="115"/>
                    <a:pt x="28" y="105"/>
                  </a:cubicBezTo>
                  <a:cubicBezTo>
                    <a:pt x="0" y="85"/>
                    <a:pt x="3" y="44"/>
                    <a:pt x="28" y="20"/>
                  </a:cubicBezTo>
                  <a:cubicBezTo>
                    <a:pt x="54" y="0"/>
                    <a:pt x="82" y="0"/>
                    <a:pt x="110" y="5"/>
                  </a:cubicBezTo>
                  <a:cubicBezTo>
                    <a:pt x="121" y="5"/>
                    <a:pt x="128" y="10"/>
                    <a:pt x="139" y="13"/>
                  </a:cubicBezTo>
                  <a:cubicBezTo>
                    <a:pt x="133" y="26"/>
                    <a:pt x="131" y="36"/>
                    <a:pt x="128" y="44"/>
                  </a:cubicBezTo>
                  <a:cubicBezTo>
                    <a:pt x="113" y="41"/>
                    <a:pt x="97" y="38"/>
                    <a:pt x="82" y="36"/>
                  </a:cubicBezTo>
                  <a:cubicBezTo>
                    <a:pt x="77" y="36"/>
                    <a:pt x="69" y="38"/>
                    <a:pt x="62" y="41"/>
                  </a:cubicBezTo>
                  <a:cubicBezTo>
                    <a:pt x="46" y="49"/>
                    <a:pt x="44" y="69"/>
                    <a:pt x="56" y="79"/>
                  </a:cubicBezTo>
                  <a:cubicBezTo>
                    <a:pt x="67" y="85"/>
                    <a:pt x="77" y="90"/>
                    <a:pt x="87" y="95"/>
                  </a:cubicBezTo>
                  <a:cubicBezTo>
                    <a:pt x="97" y="100"/>
                    <a:pt x="105" y="102"/>
                    <a:pt x="115" y="108"/>
                  </a:cubicBezTo>
                  <a:cubicBezTo>
                    <a:pt x="139" y="120"/>
                    <a:pt x="149" y="141"/>
                    <a:pt x="146" y="167"/>
                  </a:cubicBezTo>
                  <a:cubicBezTo>
                    <a:pt x="144" y="190"/>
                    <a:pt x="131" y="208"/>
                    <a:pt x="110" y="218"/>
                  </a:cubicBezTo>
                  <a:cubicBezTo>
                    <a:pt x="80" y="231"/>
                    <a:pt x="33" y="228"/>
                    <a:pt x="5" y="213"/>
                  </a:cubicBezTo>
                  <a:close/>
                </a:path>
              </a:pathLst>
            </a:custGeom>
            <a:solidFill>
              <a:srgbClr val="22419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8" name="Freeform 28"/>
            <p:cNvSpPr>
              <a:spLocks/>
            </p:cNvSpPr>
            <p:nvPr/>
          </p:nvSpPr>
          <p:spPr bwMode="auto">
            <a:xfrm>
              <a:off x="403" y="3820"/>
              <a:ext cx="27" cy="36"/>
            </a:xfrm>
            <a:custGeom>
              <a:avLst/>
              <a:gdLst>
                <a:gd name="T0" fmla="*/ 103 w 164"/>
                <a:gd name="T1" fmla="*/ 215 h 215"/>
                <a:gd name="T2" fmla="*/ 62 w 164"/>
                <a:gd name="T3" fmla="*/ 215 h 215"/>
                <a:gd name="T4" fmla="*/ 62 w 164"/>
                <a:gd name="T5" fmla="*/ 33 h 215"/>
                <a:gd name="T6" fmla="*/ 0 w 164"/>
                <a:gd name="T7" fmla="*/ 33 h 215"/>
                <a:gd name="T8" fmla="*/ 0 w 164"/>
                <a:gd name="T9" fmla="*/ 0 h 215"/>
                <a:gd name="T10" fmla="*/ 164 w 164"/>
                <a:gd name="T11" fmla="*/ 0 h 215"/>
                <a:gd name="T12" fmla="*/ 164 w 164"/>
                <a:gd name="T13" fmla="*/ 30 h 215"/>
                <a:gd name="T14" fmla="*/ 103 w 164"/>
                <a:gd name="T15" fmla="*/ 30 h 215"/>
                <a:gd name="T16" fmla="*/ 103 w 164"/>
                <a:gd name="T17" fmla="*/ 215 h 2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4" h="215">
                  <a:moveTo>
                    <a:pt x="103" y="215"/>
                  </a:moveTo>
                  <a:cubicBezTo>
                    <a:pt x="87" y="215"/>
                    <a:pt x="74" y="215"/>
                    <a:pt x="62" y="215"/>
                  </a:cubicBezTo>
                  <a:cubicBezTo>
                    <a:pt x="62" y="153"/>
                    <a:pt x="62" y="92"/>
                    <a:pt x="62" y="33"/>
                  </a:cubicBezTo>
                  <a:cubicBezTo>
                    <a:pt x="41" y="33"/>
                    <a:pt x="21" y="33"/>
                    <a:pt x="0" y="33"/>
                  </a:cubicBezTo>
                  <a:cubicBezTo>
                    <a:pt x="0" y="20"/>
                    <a:pt x="0" y="10"/>
                    <a:pt x="0" y="0"/>
                  </a:cubicBezTo>
                  <a:cubicBezTo>
                    <a:pt x="54" y="0"/>
                    <a:pt x="108" y="0"/>
                    <a:pt x="164" y="0"/>
                  </a:cubicBezTo>
                  <a:cubicBezTo>
                    <a:pt x="164" y="10"/>
                    <a:pt x="164" y="20"/>
                    <a:pt x="164" y="30"/>
                  </a:cubicBezTo>
                  <a:cubicBezTo>
                    <a:pt x="144" y="30"/>
                    <a:pt x="123" y="30"/>
                    <a:pt x="103" y="30"/>
                  </a:cubicBezTo>
                  <a:cubicBezTo>
                    <a:pt x="103" y="92"/>
                    <a:pt x="103" y="153"/>
                    <a:pt x="103" y="215"/>
                  </a:cubicBezTo>
                  <a:close/>
                </a:path>
              </a:pathLst>
            </a:custGeom>
            <a:solidFill>
              <a:srgbClr val="22419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9" name="Freeform 29"/>
            <p:cNvSpPr>
              <a:spLocks/>
            </p:cNvSpPr>
            <p:nvPr/>
          </p:nvSpPr>
          <p:spPr bwMode="auto">
            <a:xfrm>
              <a:off x="381" y="4108"/>
              <a:ext cx="30" cy="23"/>
            </a:xfrm>
            <a:custGeom>
              <a:avLst/>
              <a:gdLst>
                <a:gd name="T0" fmla="*/ 185 w 185"/>
                <a:gd name="T1" fmla="*/ 36 h 138"/>
                <a:gd name="T2" fmla="*/ 174 w 185"/>
                <a:gd name="T3" fmla="*/ 51 h 138"/>
                <a:gd name="T4" fmla="*/ 57 w 185"/>
                <a:gd name="T5" fmla="*/ 133 h 138"/>
                <a:gd name="T6" fmla="*/ 39 w 185"/>
                <a:gd name="T7" fmla="*/ 138 h 138"/>
                <a:gd name="T8" fmla="*/ 3 w 185"/>
                <a:gd name="T9" fmla="*/ 84 h 138"/>
                <a:gd name="T10" fmla="*/ 21 w 185"/>
                <a:gd name="T11" fmla="*/ 64 h 138"/>
                <a:gd name="T12" fmla="*/ 141 w 185"/>
                <a:gd name="T13" fmla="*/ 8 h 138"/>
                <a:gd name="T14" fmla="*/ 185 w 185"/>
                <a:gd name="T15" fmla="*/ 36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85" h="138">
                  <a:moveTo>
                    <a:pt x="185" y="36"/>
                  </a:moveTo>
                  <a:cubicBezTo>
                    <a:pt x="182" y="41"/>
                    <a:pt x="180" y="49"/>
                    <a:pt x="174" y="51"/>
                  </a:cubicBezTo>
                  <a:cubicBezTo>
                    <a:pt x="136" y="79"/>
                    <a:pt x="95" y="108"/>
                    <a:pt x="57" y="133"/>
                  </a:cubicBezTo>
                  <a:cubicBezTo>
                    <a:pt x="51" y="138"/>
                    <a:pt x="44" y="138"/>
                    <a:pt x="39" y="138"/>
                  </a:cubicBezTo>
                  <a:cubicBezTo>
                    <a:pt x="16" y="133"/>
                    <a:pt x="0" y="105"/>
                    <a:pt x="3" y="84"/>
                  </a:cubicBezTo>
                  <a:cubicBezTo>
                    <a:pt x="5" y="74"/>
                    <a:pt x="10" y="69"/>
                    <a:pt x="21" y="64"/>
                  </a:cubicBezTo>
                  <a:cubicBezTo>
                    <a:pt x="62" y="46"/>
                    <a:pt x="100" y="28"/>
                    <a:pt x="141" y="8"/>
                  </a:cubicBezTo>
                  <a:cubicBezTo>
                    <a:pt x="162" y="0"/>
                    <a:pt x="182" y="13"/>
                    <a:pt x="185" y="36"/>
                  </a:cubicBezTo>
                  <a:close/>
                </a:path>
              </a:pathLst>
            </a:custGeom>
            <a:solidFill>
              <a:srgbClr val="FBB32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0" name="Freeform 30"/>
            <p:cNvSpPr>
              <a:spLocks/>
            </p:cNvSpPr>
            <p:nvPr/>
          </p:nvSpPr>
          <p:spPr bwMode="auto">
            <a:xfrm>
              <a:off x="435" y="4108"/>
              <a:ext cx="31" cy="23"/>
            </a:xfrm>
            <a:custGeom>
              <a:avLst/>
              <a:gdLst>
                <a:gd name="T0" fmla="*/ 0 w 184"/>
                <a:gd name="T1" fmla="*/ 38 h 141"/>
                <a:gd name="T2" fmla="*/ 43 w 184"/>
                <a:gd name="T3" fmla="*/ 10 h 141"/>
                <a:gd name="T4" fmla="*/ 164 w 184"/>
                <a:gd name="T5" fmla="*/ 64 h 141"/>
                <a:gd name="T6" fmla="*/ 182 w 184"/>
                <a:gd name="T7" fmla="*/ 100 h 141"/>
                <a:gd name="T8" fmla="*/ 166 w 184"/>
                <a:gd name="T9" fmla="*/ 125 h 141"/>
                <a:gd name="T10" fmla="*/ 123 w 184"/>
                <a:gd name="T11" fmla="*/ 131 h 141"/>
                <a:gd name="T12" fmla="*/ 15 w 184"/>
                <a:gd name="T13" fmla="*/ 54 h 141"/>
                <a:gd name="T14" fmla="*/ 0 w 184"/>
                <a:gd name="T15" fmla="*/ 38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84" h="141">
                  <a:moveTo>
                    <a:pt x="0" y="38"/>
                  </a:moveTo>
                  <a:cubicBezTo>
                    <a:pt x="2" y="13"/>
                    <a:pt x="23" y="0"/>
                    <a:pt x="43" y="10"/>
                  </a:cubicBezTo>
                  <a:cubicBezTo>
                    <a:pt x="84" y="28"/>
                    <a:pt x="123" y="46"/>
                    <a:pt x="164" y="64"/>
                  </a:cubicBezTo>
                  <a:cubicBezTo>
                    <a:pt x="179" y="72"/>
                    <a:pt x="184" y="82"/>
                    <a:pt x="182" y="100"/>
                  </a:cubicBezTo>
                  <a:cubicBezTo>
                    <a:pt x="177" y="108"/>
                    <a:pt x="174" y="118"/>
                    <a:pt x="166" y="125"/>
                  </a:cubicBezTo>
                  <a:cubicBezTo>
                    <a:pt x="154" y="141"/>
                    <a:pt x="141" y="141"/>
                    <a:pt x="123" y="131"/>
                  </a:cubicBezTo>
                  <a:cubicBezTo>
                    <a:pt x="87" y="105"/>
                    <a:pt x="51" y="79"/>
                    <a:pt x="15" y="54"/>
                  </a:cubicBezTo>
                  <a:cubicBezTo>
                    <a:pt x="8" y="51"/>
                    <a:pt x="5" y="43"/>
                    <a:pt x="0" y="38"/>
                  </a:cubicBezTo>
                  <a:close/>
                </a:path>
              </a:pathLst>
            </a:custGeom>
            <a:solidFill>
              <a:srgbClr val="FBB32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1" name="Freeform 31"/>
            <p:cNvSpPr>
              <a:spLocks/>
            </p:cNvSpPr>
            <p:nvPr/>
          </p:nvSpPr>
          <p:spPr bwMode="auto">
            <a:xfrm>
              <a:off x="417" y="4119"/>
              <a:ext cx="13" cy="32"/>
            </a:xfrm>
            <a:custGeom>
              <a:avLst/>
              <a:gdLst>
                <a:gd name="T0" fmla="*/ 3 w 80"/>
                <a:gd name="T1" fmla="*/ 159 h 195"/>
                <a:gd name="T2" fmla="*/ 13 w 80"/>
                <a:gd name="T3" fmla="*/ 18 h 195"/>
                <a:gd name="T4" fmla="*/ 41 w 80"/>
                <a:gd name="T5" fmla="*/ 0 h 195"/>
                <a:gd name="T6" fmla="*/ 67 w 80"/>
                <a:gd name="T7" fmla="*/ 18 h 195"/>
                <a:gd name="T8" fmla="*/ 80 w 80"/>
                <a:gd name="T9" fmla="*/ 162 h 195"/>
                <a:gd name="T10" fmla="*/ 67 w 80"/>
                <a:gd name="T11" fmla="*/ 185 h 195"/>
                <a:gd name="T12" fmla="*/ 13 w 80"/>
                <a:gd name="T13" fmla="*/ 185 h 195"/>
                <a:gd name="T14" fmla="*/ 3 w 80"/>
                <a:gd name="T15" fmla="*/ 159 h 1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0" h="195">
                  <a:moveTo>
                    <a:pt x="3" y="159"/>
                  </a:moveTo>
                  <a:cubicBezTo>
                    <a:pt x="5" y="113"/>
                    <a:pt x="10" y="67"/>
                    <a:pt x="13" y="18"/>
                  </a:cubicBezTo>
                  <a:cubicBezTo>
                    <a:pt x="15" y="8"/>
                    <a:pt x="26" y="0"/>
                    <a:pt x="41" y="0"/>
                  </a:cubicBezTo>
                  <a:cubicBezTo>
                    <a:pt x="56" y="0"/>
                    <a:pt x="67" y="8"/>
                    <a:pt x="67" y="18"/>
                  </a:cubicBezTo>
                  <a:cubicBezTo>
                    <a:pt x="72" y="67"/>
                    <a:pt x="74" y="113"/>
                    <a:pt x="80" y="162"/>
                  </a:cubicBezTo>
                  <a:cubicBezTo>
                    <a:pt x="80" y="172"/>
                    <a:pt x="74" y="180"/>
                    <a:pt x="67" y="185"/>
                  </a:cubicBezTo>
                  <a:cubicBezTo>
                    <a:pt x="51" y="195"/>
                    <a:pt x="28" y="195"/>
                    <a:pt x="13" y="185"/>
                  </a:cubicBezTo>
                  <a:cubicBezTo>
                    <a:pt x="5" y="180"/>
                    <a:pt x="0" y="172"/>
                    <a:pt x="3" y="159"/>
                  </a:cubicBezTo>
                  <a:close/>
                </a:path>
              </a:pathLst>
            </a:custGeom>
            <a:solidFill>
              <a:srgbClr val="FBB32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2" name="Freeform 32"/>
            <p:cNvSpPr>
              <a:spLocks/>
            </p:cNvSpPr>
            <p:nvPr/>
          </p:nvSpPr>
          <p:spPr bwMode="auto">
            <a:xfrm>
              <a:off x="417" y="4056"/>
              <a:ext cx="13" cy="32"/>
            </a:xfrm>
            <a:custGeom>
              <a:avLst/>
              <a:gdLst>
                <a:gd name="T0" fmla="*/ 38 w 82"/>
                <a:gd name="T1" fmla="*/ 192 h 192"/>
                <a:gd name="T2" fmla="*/ 13 w 82"/>
                <a:gd name="T3" fmla="*/ 167 h 192"/>
                <a:gd name="T4" fmla="*/ 3 w 82"/>
                <a:gd name="T5" fmla="*/ 36 h 192"/>
                <a:gd name="T6" fmla="*/ 23 w 82"/>
                <a:gd name="T7" fmla="*/ 3 h 192"/>
                <a:gd name="T8" fmla="*/ 54 w 82"/>
                <a:gd name="T9" fmla="*/ 3 h 192"/>
                <a:gd name="T10" fmla="*/ 80 w 82"/>
                <a:gd name="T11" fmla="*/ 39 h 192"/>
                <a:gd name="T12" fmla="*/ 67 w 82"/>
                <a:gd name="T13" fmla="*/ 167 h 192"/>
                <a:gd name="T14" fmla="*/ 38 w 82"/>
                <a:gd name="T15" fmla="*/ 192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2" h="192">
                  <a:moveTo>
                    <a:pt x="38" y="192"/>
                  </a:moveTo>
                  <a:cubicBezTo>
                    <a:pt x="21" y="192"/>
                    <a:pt x="15" y="185"/>
                    <a:pt x="13" y="167"/>
                  </a:cubicBezTo>
                  <a:cubicBezTo>
                    <a:pt x="10" y="123"/>
                    <a:pt x="5" y="80"/>
                    <a:pt x="3" y="36"/>
                  </a:cubicBezTo>
                  <a:cubicBezTo>
                    <a:pt x="0" y="18"/>
                    <a:pt x="5" y="8"/>
                    <a:pt x="23" y="3"/>
                  </a:cubicBezTo>
                  <a:cubicBezTo>
                    <a:pt x="33" y="0"/>
                    <a:pt x="44" y="0"/>
                    <a:pt x="54" y="3"/>
                  </a:cubicBezTo>
                  <a:cubicBezTo>
                    <a:pt x="74" y="5"/>
                    <a:pt x="82" y="18"/>
                    <a:pt x="80" y="39"/>
                  </a:cubicBezTo>
                  <a:cubicBezTo>
                    <a:pt x="74" y="80"/>
                    <a:pt x="72" y="123"/>
                    <a:pt x="67" y="167"/>
                  </a:cubicBezTo>
                  <a:cubicBezTo>
                    <a:pt x="67" y="185"/>
                    <a:pt x="59" y="192"/>
                    <a:pt x="38" y="192"/>
                  </a:cubicBezTo>
                  <a:close/>
                </a:path>
              </a:pathLst>
            </a:custGeom>
            <a:solidFill>
              <a:srgbClr val="FBB32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3" name="Freeform 33"/>
            <p:cNvSpPr>
              <a:spLocks/>
            </p:cNvSpPr>
            <p:nvPr/>
          </p:nvSpPr>
          <p:spPr bwMode="auto">
            <a:xfrm>
              <a:off x="435" y="4075"/>
              <a:ext cx="31" cy="24"/>
            </a:xfrm>
            <a:custGeom>
              <a:avLst/>
              <a:gdLst>
                <a:gd name="T0" fmla="*/ 0 w 187"/>
                <a:gd name="T1" fmla="*/ 103 h 141"/>
                <a:gd name="T2" fmla="*/ 13 w 187"/>
                <a:gd name="T3" fmla="*/ 87 h 141"/>
                <a:gd name="T4" fmla="*/ 128 w 187"/>
                <a:gd name="T5" fmla="*/ 8 h 141"/>
                <a:gd name="T6" fmla="*/ 154 w 187"/>
                <a:gd name="T7" fmla="*/ 5 h 141"/>
                <a:gd name="T8" fmla="*/ 179 w 187"/>
                <a:gd name="T9" fmla="*/ 59 h 141"/>
                <a:gd name="T10" fmla="*/ 169 w 187"/>
                <a:gd name="T11" fmla="*/ 74 h 141"/>
                <a:gd name="T12" fmla="*/ 38 w 187"/>
                <a:gd name="T13" fmla="*/ 133 h 141"/>
                <a:gd name="T14" fmla="*/ 0 w 187"/>
                <a:gd name="T15" fmla="*/ 103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87" h="141">
                  <a:moveTo>
                    <a:pt x="0" y="103"/>
                  </a:moveTo>
                  <a:cubicBezTo>
                    <a:pt x="5" y="97"/>
                    <a:pt x="8" y="92"/>
                    <a:pt x="13" y="87"/>
                  </a:cubicBezTo>
                  <a:cubicBezTo>
                    <a:pt x="51" y="62"/>
                    <a:pt x="90" y="33"/>
                    <a:pt x="128" y="8"/>
                  </a:cubicBezTo>
                  <a:cubicBezTo>
                    <a:pt x="136" y="0"/>
                    <a:pt x="146" y="0"/>
                    <a:pt x="154" y="5"/>
                  </a:cubicBezTo>
                  <a:cubicBezTo>
                    <a:pt x="174" y="15"/>
                    <a:pt x="187" y="41"/>
                    <a:pt x="179" y="59"/>
                  </a:cubicBezTo>
                  <a:cubicBezTo>
                    <a:pt x="179" y="64"/>
                    <a:pt x="174" y="72"/>
                    <a:pt x="169" y="74"/>
                  </a:cubicBezTo>
                  <a:cubicBezTo>
                    <a:pt x="125" y="95"/>
                    <a:pt x="82" y="113"/>
                    <a:pt x="38" y="133"/>
                  </a:cubicBezTo>
                  <a:cubicBezTo>
                    <a:pt x="23" y="141"/>
                    <a:pt x="2" y="126"/>
                    <a:pt x="0" y="103"/>
                  </a:cubicBezTo>
                  <a:close/>
                </a:path>
              </a:pathLst>
            </a:custGeom>
            <a:solidFill>
              <a:srgbClr val="FBB32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4" name="Freeform 34"/>
            <p:cNvSpPr>
              <a:spLocks/>
            </p:cNvSpPr>
            <p:nvPr/>
          </p:nvSpPr>
          <p:spPr bwMode="auto">
            <a:xfrm>
              <a:off x="381" y="4075"/>
              <a:ext cx="30" cy="24"/>
            </a:xfrm>
            <a:custGeom>
              <a:avLst/>
              <a:gdLst>
                <a:gd name="T0" fmla="*/ 185 w 185"/>
                <a:gd name="T1" fmla="*/ 103 h 141"/>
                <a:gd name="T2" fmla="*/ 141 w 185"/>
                <a:gd name="T3" fmla="*/ 131 h 141"/>
                <a:gd name="T4" fmla="*/ 21 w 185"/>
                <a:gd name="T5" fmla="*/ 77 h 141"/>
                <a:gd name="T6" fmla="*/ 5 w 185"/>
                <a:gd name="T7" fmla="*/ 41 h 141"/>
                <a:gd name="T8" fmla="*/ 26 w 185"/>
                <a:gd name="T9" fmla="*/ 8 h 141"/>
                <a:gd name="T10" fmla="*/ 57 w 185"/>
                <a:gd name="T11" fmla="*/ 8 h 141"/>
                <a:gd name="T12" fmla="*/ 172 w 185"/>
                <a:gd name="T13" fmla="*/ 87 h 141"/>
                <a:gd name="T14" fmla="*/ 185 w 185"/>
                <a:gd name="T15" fmla="*/ 103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85" h="141">
                  <a:moveTo>
                    <a:pt x="185" y="103"/>
                  </a:moveTo>
                  <a:cubicBezTo>
                    <a:pt x="182" y="128"/>
                    <a:pt x="162" y="141"/>
                    <a:pt x="141" y="131"/>
                  </a:cubicBezTo>
                  <a:cubicBezTo>
                    <a:pt x="103" y="113"/>
                    <a:pt x="62" y="95"/>
                    <a:pt x="21" y="77"/>
                  </a:cubicBezTo>
                  <a:cubicBezTo>
                    <a:pt x="5" y="69"/>
                    <a:pt x="0" y="59"/>
                    <a:pt x="5" y="41"/>
                  </a:cubicBezTo>
                  <a:cubicBezTo>
                    <a:pt x="8" y="28"/>
                    <a:pt x="16" y="15"/>
                    <a:pt x="26" y="8"/>
                  </a:cubicBezTo>
                  <a:cubicBezTo>
                    <a:pt x="36" y="0"/>
                    <a:pt x="46" y="0"/>
                    <a:pt x="57" y="8"/>
                  </a:cubicBezTo>
                  <a:cubicBezTo>
                    <a:pt x="95" y="33"/>
                    <a:pt x="133" y="62"/>
                    <a:pt x="172" y="87"/>
                  </a:cubicBezTo>
                  <a:cubicBezTo>
                    <a:pt x="177" y="92"/>
                    <a:pt x="180" y="97"/>
                    <a:pt x="185" y="103"/>
                  </a:cubicBezTo>
                  <a:close/>
                </a:path>
              </a:pathLst>
            </a:custGeom>
            <a:solidFill>
              <a:srgbClr val="FBB32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5" name="Freeform 35"/>
            <p:cNvSpPr>
              <a:spLocks/>
            </p:cNvSpPr>
            <p:nvPr/>
          </p:nvSpPr>
          <p:spPr bwMode="auto">
            <a:xfrm>
              <a:off x="434" y="3820"/>
              <a:ext cx="6" cy="36"/>
            </a:xfrm>
            <a:custGeom>
              <a:avLst/>
              <a:gdLst>
                <a:gd name="T0" fmla="*/ 0 w 39"/>
                <a:gd name="T1" fmla="*/ 0 h 218"/>
                <a:gd name="T2" fmla="*/ 39 w 39"/>
                <a:gd name="T3" fmla="*/ 0 h 218"/>
                <a:gd name="T4" fmla="*/ 39 w 39"/>
                <a:gd name="T5" fmla="*/ 218 h 218"/>
                <a:gd name="T6" fmla="*/ 0 w 39"/>
                <a:gd name="T7" fmla="*/ 218 h 218"/>
                <a:gd name="T8" fmla="*/ 0 w 39"/>
                <a:gd name="T9" fmla="*/ 0 h 2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9" h="218">
                  <a:moveTo>
                    <a:pt x="0" y="0"/>
                  </a:moveTo>
                  <a:cubicBezTo>
                    <a:pt x="13" y="0"/>
                    <a:pt x="26" y="0"/>
                    <a:pt x="39" y="0"/>
                  </a:cubicBezTo>
                  <a:cubicBezTo>
                    <a:pt x="39" y="74"/>
                    <a:pt x="39" y="146"/>
                    <a:pt x="39" y="218"/>
                  </a:cubicBezTo>
                  <a:cubicBezTo>
                    <a:pt x="26" y="218"/>
                    <a:pt x="13" y="218"/>
                    <a:pt x="0" y="218"/>
                  </a:cubicBezTo>
                  <a:cubicBezTo>
                    <a:pt x="0" y="146"/>
                    <a:pt x="0" y="74"/>
                    <a:pt x="0" y="0"/>
                  </a:cubicBezTo>
                  <a:close/>
                </a:path>
              </a:pathLst>
            </a:custGeom>
            <a:solidFill>
              <a:srgbClr val="22419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6" name="Freeform 36"/>
            <p:cNvSpPr>
              <a:spLocks/>
            </p:cNvSpPr>
            <p:nvPr/>
          </p:nvSpPr>
          <p:spPr bwMode="auto">
            <a:xfrm>
              <a:off x="540" y="3820"/>
              <a:ext cx="6" cy="36"/>
            </a:xfrm>
            <a:custGeom>
              <a:avLst/>
              <a:gdLst>
                <a:gd name="T0" fmla="*/ 0 w 38"/>
                <a:gd name="T1" fmla="*/ 0 h 215"/>
                <a:gd name="T2" fmla="*/ 38 w 38"/>
                <a:gd name="T3" fmla="*/ 0 h 215"/>
                <a:gd name="T4" fmla="*/ 38 w 38"/>
                <a:gd name="T5" fmla="*/ 215 h 215"/>
                <a:gd name="T6" fmla="*/ 0 w 38"/>
                <a:gd name="T7" fmla="*/ 215 h 215"/>
                <a:gd name="T8" fmla="*/ 0 w 38"/>
                <a:gd name="T9" fmla="*/ 0 h 2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8" h="215">
                  <a:moveTo>
                    <a:pt x="0" y="0"/>
                  </a:moveTo>
                  <a:cubicBezTo>
                    <a:pt x="12" y="0"/>
                    <a:pt x="25" y="0"/>
                    <a:pt x="38" y="0"/>
                  </a:cubicBezTo>
                  <a:cubicBezTo>
                    <a:pt x="38" y="71"/>
                    <a:pt x="38" y="143"/>
                    <a:pt x="38" y="215"/>
                  </a:cubicBezTo>
                  <a:cubicBezTo>
                    <a:pt x="25" y="215"/>
                    <a:pt x="15" y="215"/>
                    <a:pt x="0" y="215"/>
                  </a:cubicBezTo>
                  <a:cubicBezTo>
                    <a:pt x="0" y="143"/>
                    <a:pt x="0" y="71"/>
                    <a:pt x="0" y="0"/>
                  </a:cubicBezTo>
                  <a:close/>
                </a:path>
              </a:pathLst>
            </a:custGeom>
            <a:solidFill>
              <a:srgbClr val="22419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7" name="Freeform 37"/>
            <p:cNvSpPr>
              <a:spLocks/>
            </p:cNvSpPr>
            <p:nvPr/>
          </p:nvSpPr>
          <p:spPr bwMode="auto">
            <a:xfrm>
              <a:off x="272" y="3820"/>
              <a:ext cx="6" cy="36"/>
            </a:xfrm>
            <a:custGeom>
              <a:avLst/>
              <a:gdLst>
                <a:gd name="T0" fmla="*/ 0 w 38"/>
                <a:gd name="T1" fmla="*/ 215 h 215"/>
                <a:gd name="T2" fmla="*/ 0 w 38"/>
                <a:gd name="T3" fmla="*/ 0 h 215"/>
                <a:gd name="T4" fmla="*/ 38 w 38"/>
                <a:gd name="T5" fmla="*/ 0 h 215"/>
                <a:gd name="T6" fmla="*/ 38 w 38"/>
                <a:gd name="T7" fmla="*/ 215 h 215"/>
                <a:gd name="T8" fmla="*/ 0 w 38"/>
                <a:gd name="T9" fmla="*/ 215 h 2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8" h="215">
                  <a:moveTo>
                    <a:pt x="0" y="215"/>
                  </a:moveTo>
                  <a:cubicBezTo>
                    <a:pt x="0" y="143"/>
                    <a:pt x="0" y="71"/>
                    <a:pt x="0" y="0"/>
                  </a:cubicBezTo>
                  <a:cubicBezTo>
                    <a:pt x="13" y="0"/>
                    <a:pt x="25" y="0"/>
                    <a:pt x="38" y="0"/>
                  </a:cubicBezTo>
                  <a:cubicBezTo>
                    <a:pt x="38" y="71"/>
                    <a:pt x="38" y="143"/>
                    <a:pt x="38" y="215"/>
                  </a:cubicBezTo>
                  <a:cubicBezTo>
                    <a:pt x="25" y="215"/>
                    <a:pt x="13" y="215"/>
                    <a:pt x="0" y="215"/>
                  </a:cubicBezTo>
                  <a:close/>
                </a:path>
              </a:pathLst>
            </a:custGeom>
            <a:solidFill>
              <a:srgbClr val="22419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8" name="Freeform 38"/>
            <p:cNvSpPr>
              <a:spLocks/>
            </p:cNvSpPr>
            <p:nvPr/>
          </p:nvSpPr>
          <p:spPr bwMode="auto">
            <a:xfrm>
              <a:off x="492" y="4078"/>
              <a:ext cx="16" cy="13"/>
            </a:xfrm>
            <a:custGeom>
              <a:avLst/>
              <a:gdLst>
                <a:gd name="T0" fmla="*/ 0 w 100"/>
                <a:gd name="T1" fmla="*/ 34 h 80"/>
                <a:gd name="T2" fmla="*/ 13 w 100"/>
                <a:gd name="T3" fmla="*/ 6 h 80"/>
                <a:gd name="T4" fmla="*/ 36 w 100"/>
                <a:gd name="T5" fmla="*/ 11 h 80"/>
                <a:gd name="T6" fmla="*/ 90 w 100"/>
                <a:gd name="T7" fmla="*/ 49 h 80"/>
                <a:gd name="T8" fmla="*/ 95 w 100"/>
                <a:gd name="T9" fmla="*/ 70 h 80"/>
                <a:gd name="T10" fmla="*/ 75 w 100"/>
                <a:gd name="T11" fmla="*/ 75 h 80"/>
                <a:gd name="T12" fmla="*/ 11 w 100"/>
                <a:gd name="T13" fmla="*/ 44 h 80"/>
                <a:gd name="T14" fmla="*/ 0 w 100"/>
                <a:gd name="T15" fmla="*/ 34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00" h="80">
                  <a:moveTo>
                    <a:pt x="0" y="34"/>
                  </a:moveTo>
                  <a:cubicBezTo>
                    <a:pt x="0" y="18"/>
                    <a:pt x="5" y="11"/>
                    <a:pt x="13" y="6"/>
                  </a:cubicBezTo>
                  <a:cubicBezTo>
                    <a:pt x="23" y="0"/>
                    <a:pt x="29" y="6"/>
                    <a:pt x="36" y="11"/>
                  </a:cubicBezTo>
                  <a:cubicBezTo>
                    <a:pt x="54" y="23"/>
                    <a:pt x="72" y="36"/>
                    <a:pt x="90" y="49"/>
                  </a:cubicBezTo>
                  <a:cubicBezTo>
                    <a:pt x="98" y="54"/>
                    <a:pt x="100" y="59"/>
                    <a:pt x="95" y="70"/>
                  </a:cubicBezTo>
                  <a:cubicBezTo>
                    <a:pt x="90" y="77"/>
                    <a:pt x="85" y="80"/>
                    <a:pt x="75" y="75"/>
                  </a:cubicBezTo>
                  <a:cubicBezTo>
                    <a:pt x="54" y="64"/>
                    <a:pt x="31" y="54"/>
                    <a:pt x="11" y="44"/>
                  </a:cubicBezTo>
                  <a:cubicBezTo>
                    <a:pt x="5" y="41"/>
                    <a:pt x="3" y="36"/>
                    <a:pt x="0" y="34"/>
                  </a:cubicBezTo>
                  <a:close/>
                </a:path>
              </a:pathLst>
            </a:custGeom>
            <a:solidFill>
              <a:srgbClr val="FBB32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9" name="Freeform 39"/>
            <p:cNvSpPr>
              <a:spLocks/>
            </p:cNvSpPr>
            <p:nvPr/>
          </p:nvSpPr>
          <p:spPr bwMode="auto">
            <a:xfrm>
              <a:off x="339" y="4078"/>
              <a:ext cx="16" cy="13"/>
            </a:xfrm>
            <a:custGeom>
              <a:avLst/>
              <a:gdLst>
                <a:gd name="T0" fmla="*/ 100 w 100"/>
                <a:gd name="T1" fmla="*/ 31 h 77"/>
                <a:gd name="T2" fmla="*/ 90 w 100"/>
                <a:gd name="T3" fmla="*/ 41 h 77"/>
                <a:gd name="T4" fmla="*/ 23 w 100"/>
                <a:gd name="T5" fmla="*/ 72 h 77"/>
                <a:gd name="T6" fmla="*/ 2 w 100"/>
                <a:gd name="T7" fmla="*/ 67 h 77"/>
                <a:gd name="T8" fmla="*/ 7 w 100"/>
                <a:gd name="T9" fmla="*/ 46 h 77"/>
                <a:gd name="T10" fmla="*/ 69 w 100"/>
                <a:gd name="T11" fmla="*/ 5 h 77"/>
                <a:gd name="T12" fmla="*/ 84 w 100"/>
                <a:gd name="T13" fmla="*/ 3 h 77"/>
                <a:gd name="T14" fmla="*/ 100 w 100"/>
                <a:gd name="T15" fmla="*/ 31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00" h="77">
                  <a:moveTo>
                    <a:pt x="100" y="31"/>
                  </a:moveTo>
                  <a:cubicBezTo>
                    <a:pt x="97" y="33"/>
                    <a:pt x="95" y="38"/>
                    <a:pt x="90" y="41"/>
                  </a:cubicBezTo>
                  <a:cubicBezTo>
                    <a:pt x="66" y="51"/>
                    <a:pt x="43" y="61"/>
                    <a:pt x="23" y="72"/>
                  </a:cubicBezTo>
                  <a:cubicBezTo>
                    <a:pt x="13" y="77"/>
                    <a:pt x="7" y="74"/>
                    <a:pt x="2" y="67"/>
                  </a:cubicBezTo>
                  <a:cubicBezTo>
                    <a:pt x="0" y="59"/>
                    <a:pt x="0" y="51"/>
                    <a:pt x="7" y="46"/>
                  </a:cubicBezTo>
                  <a:cubicBezTo>
                    <a:pt x="28" y="33"/>
                    <a:pt x="49" y="18"/>
                    <a:pt x="69" y="5"/>
                  </a:cubicBezTo>
                  <a:cubicBezTo>
                    <a:pt x="72" y="3"/>
                    <a:pt x="79" y="0"/>
                    <a:pt x="84" y="3"/>
                  </a:cubicBezTo>
                  <a:cubicBezTo>
                    <a:pt x="95" y="8"/>
                    <a:pt x="97" y="15"/>
                    <a:pt x="100" y="31"/>
                  </a:cubicBezTo>
                  <a:close/>
                </a:path>
              </a:pathLst>
            </a:custGeom>
            <a:solidFill>
              <a:srgbClr val="FBB32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0" name="Freeform 40"/>
            <p:cNvSpPr>
              <a:spLocks/>
            </p:cNvSpPr>
            <p:nvPr/>
          </p:nvSpPr>
          <p:spPr bwMode="auto">
            <a:xfrm>
              <a:off x="511" y="4102"/>
              <a:ext cx="8" cy="18"/>
            </a:xfrm>
            <a:custGeom>
              <a:avLst/>
              <a:gdLst>
                <a:gd name="T0" fmla="*/ 23 w 46"/>
                <a:gd name="T1" fmla="*/ 108 h 108"/>
                <a:gd name="T2" fmla="*/ 2 w 46"/>
                <a:gd name="T3" fmla="*/ 82 h 108"/>
                <a:gd name="T4" fmla="*/ 7 w 46"/>
                <a:gd name="T5" fmla="*/ 18 h 108"/>
                <a:gd name="T6" fmla="*/ 23 w 46"/>
                <a:gd name="T7" fmla="*/ 0 h 108"/>
                <a:gd name="T8" fmla="*/ 38 w 46"/>
                <a:gd name="T9" fmla="*/ 18 h 108"/>
                <a:gd name="T10" fmla="*/ 46 w 46"/>
                <a:gd name="T11" fmla="*/ 90 h 108"/>
                <a:gd name="T12" fmla="*/ 23 w 46"/>
                <a:gd name="T13" fmla="*/ 108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6" h="108">
                  <a:moveTo>
                    <a:pt x="23" y="108"/>
                  </a:moveTo>
                  <a:cubicBezTo>
                    <a:pt x="7" y="108"/>
                    <a:pt x="0" y="100"/>
                    <a:pt x="2" y="82"/>
                  </a:cubicBezTo>
                  <a:cubicBezTo>
                    <a:pt x="5" y="61"/>
                    <a:pt x="5" y="41"/>
                    <a:pt x="7" y="18"/>
                  </a:cubicBezTo>
                  <a:cubicBezTo>
                    <a:pt x="10" y="5"/>
                    <a:pt x="13" y="0"/>
                    <a:pt x="23" y="0"/>
                  </a:cubicBezTo>
                  <a:cubicBezTo>
                    <a:pt x="33" y="0"/>
                    <a:pt x="38" y="5"/>
                    <a:pt x="38" y="18"/>
                  </a:cubicBezTo>
                  <a:cubicBezTo>
                    <a:pt x="41" y="41"/>
                    <a:pt x="43" y="67"/>
                    <a:pt x="46" y="90"/>
                  </a:cubicBezTo>
                  <a:cubicBezTo>
                    <a:pt x="46" y="100"/>
                    <a:pt x="36" y="108"/>
                    <a:pt x="23" y="108"/>
                  </a:cubicBezTo>
                  <a:close/>
                </a:path>
              </a:pathLst>
            </a:custGeom>
            <a:solidFill>
              <a:srgbClr val="FBB32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1" name="Freeform 41"/>
            <p:cNvSpPr>
              <a:spLocks/>
            </p:cNvSpPr>
            <p:nvPr/>
          </p:nvSpPr>
          <p:spPr bwMode="auto">
            <a:xfrm>
              <a:off x="328" y="4102"/>
              <a:ext cx="8" cy="18"/>
            </a:xfrm>
            <a:custGeom>
              <a:avLst/>
              <a:gdLst>
                <a:gd name="T0" fmla="*/ 46 w 46"/>
                <a:gd name="T1" fmla="*/ 90 h 108"/>
                <a:gd name="T2" fmla="*/ 23 w 46"/>
                <a:gd name="T3" fmla="*/ 108 h 108"/>
                <a:gd name="T4" fmla="*/ 2 w 46"/>
                <a:gd name="T5" fmla="*/ 87 h 108"/>
                <a:gd name="T6" fmla="*/ 7 w 46"/>
                <a:gd name="T7" fmla="*/ 15 h 108"/>
                <a:gd name="T8" fmla="*/ 23 w 46"/>
                <a:gd name="T9" fmla="*/ 0 h 108"/>
                <a:gd name="T10" fmla="*/ 38 w 46"/>
                <a:gd name="T11" fmla="*/ 15 h 108"/>
                <a:gd name="T12" fmla="*/ 46 w 46"/>
                <a:gd name="T13" fmla="*/ 90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6" h="108">
                  <a:moveTo>
                    <a:pt x="46" y="90"/>
                  </a:moveTo>
                  <a:cubicBezTo>
                    <a:pt x="46" y="100"/>
                    <a:pt x="38" y="108"/>
                    <a:pt x="23" y="108"/>
                  </a:cubicBezTo>
                  <a:cubicBezTo>
                    <a:pt x="7" y="108"/>
                    <a:pt x="0" y="100"/>
                    <a:pt x="2" y="87"/>
                  </a:cubicBezTo>
                  <a:cubicBezTo>
                    <a:pt x="5" y="64"/>
                    <a:pt x="7" y="38"/>
                    <a:pt x="7" y="15"/>
                  </a:cubicBezTo>
                  <a:cubicBezTo>
                    <a:pt x="10" y="5"/>
                    <a:pt x="15" y="0"/>
                    <a:pt x="23" y="0"/>
                  </a:cubicBezTo>
                  <a:cubicBezTo>
                    <a:pt x="33" y="3"/>
                    <a:pt x="38" y="5"/>
                    <a:pt x="38" y="15"/>
                  </a:cubicBezTo>
                  <a:cubicBezTo>
                    <a:pt x="41" y="38"/>
                    <a:pt x="43" y="64"/>
                    <a:pt x="46" y="90"/>
                  </a:cubicBezTo>
                  <a:close/>
                </a:path>
              </a:pathLst>
            </a:custGeom>
            <a:solidFill>
              <a:srgbClr val="FBB32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2" name="Freeform 42"/>
            <p:cNvSpPr>
              <a:spLocks/>
            </p:cNvSpPr>
            <p:nvPr/>
          </p:nvSpPr>
          <p:spPr bwMode="auto">
            <a:xfrm>
              <a:off x="511" y="4067"/>
              <a:ext cx="8" cy="18"/>
            </a:xfrm>
            <a:custGeom>
              <a:avLst/>
              <a:gdLst>
                <a:gd name="T0" fmla="*/ 43 w 46"/>
                <a:gd name="T1" fmla="*/ 29 h 108"/>
                <a:gd name="T2" fmla="*/ 38 w 46"/>
                <a:gd name="T3" fmla="*/ 95 h 108"/>
                <a:gd name="T4" fmla="*/ 23 w 46"/>
                <a:gd name="T5" fmla="*/ 108 h 108"/>
                <a:gd name="T6" fmla="*/ 7 w 46"/>
                <a:gd name="T7" fmla="*/ 95 h 108"/>
                <a:gd name="T8" fmla="*/ 2 w 46"/>
                <a:gd name="T9" fmla="*/ 21 h 108"/>
                <a:gd name="T10" fmla="*/ 25 w 46"/>
                <a:gd name="T11" fmla="*/ 3 h 108"/>
                <a:gd name="T12" fmla="*/ 43 w 46"/>
                <a:gd name="T13" fmla="*/ 21 h 108"/>
                <a:gd name="T14" fmla="*/ 43 w 46"/>
                <a:gd name="T15" fmla="*/ 29 h 108"/>
                <a:gd name="T16" fmla="*/ 43 w 46"/>
                <a:gd name="T17" fmla="*/ 29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6" h="108">
                  <a:moveTo>
                    <a:pt x="43" y="29"/>
                  </a:moveTo>
                  <a:cubicBezTo>
                    <a:pt x="43" y="49"/>
                    <a:pt x="41" y="72"/>
                    <a:pt x="38" y="95"/>
                  </a:cubicBezTo>
                  <a:cubicBezTo>
                    <a:pt x="38" y="105"/>
                    <a:pt x="30" y="108"/>
                    <a:pt x="23" y="108"/>
                  </a:cubicBezTo>
                  <a:cubicBezTo>
                    <a:pt x="15" y="108"/>
                    <a:pt x="10" y="105"/>
                    <a:pt x="7" y="95"/>
                  </a:cubicBezTo>
                  <a:cubicBezTo>
                    <a:pt x="7" y="70"/>
                    <a:pt x="5" y="46"/>
                    <a:pt x="2" y="21"/>
                  </a:cubicBezTo>
                  <a:cubicBezTo>
                    <a:pt x="0" y="8"/>
                    <a:pt x="10" y="0"/>
                    <a:pt x="25" y="3"/>
                  </a:cubicBezTo>
                  <a:cubicBezTo>
                    <a:pt x="38" y="3"/>
                    <a:pt x="46" y="8"/>
                    <a:pt x="43" y="21"/>
                  </a:cubicBezTo>
                  <a:cubicBezTo>
                    <a:pt x="43" y="23"/>
                    <a:pt x="43" y="26"/>
                    <a:pt x="43" y="29"/>
                  </a:cubicBezTo>
                  <a:cubicBezTo>
                    <a:pt x="43" y="29"/>
                    <a:pt x="43" y="29"/>
                    <a:pt x="43" y="29"/>
                  </a:cubicBezTo>
                  <a:close/>
                </a:path>
              </a:pathLst>
            </a:custGeom>
            <a:solidFill>
              <a:srgbClr val="FBB32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3" name="Freeform 43"/>
            <p:cNvSpPr>
              <a:spLocks/>
            </p:cNvSpPr>
            <p:nvPr/>
          </p:nvSpPr>
          <p:spPr bwMode="auto">
            <a:xfrm>
              <a:off x="492" y="4096"/>
              <a:ext cx="16" cy="13"/>
            </a:xfrm>
            <a:custGeom>
              <a:avLst/>
              <a:gdLst>
                <a:gd name="T0" fmla="*/ 100 w 100"/>
                <a:gd name="T1" fmla="*/ 23 h 80"/>
                <a:gd name="T2" fmla="*/ 95 w 100"/>
                <a:gd name="T3" fmla="*/ 31 h 80"/>
                <a:gd name="T4" fmla="*/ 33 w 100"/>
                <a:gd name="T5" fmla="*/ 74 h 80"/>
                <a:gd name="T6" fmla="*/ 5 w 100"/>
                <a:gd name="T7" fmla="*/ 64 h 80"/>
                <a:gd name="T8" fmla="*/ 10 w 100"/>
                <a:gd name="T9" fmla="*/ 36 h 80"/>
                <a:gd name="T10" fmla="*/ 79 w 100"/>
                <a:gd name="T11" fmla="*/ 5 h 80"/>
                <a:gd name="T12" fmla="*/ 100 w 100"/>
                <a:gd name="T13" fmla="*/ 23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0" h="80">
                  <a:moveTo>
                    <a:pt x="100" y="23"/>
                  </a:moveTo>
                  <a:cubicBezTo>
                    <a:pt x="100" y="26"/>
                    <a:pt x="97" y="28"/>
                    <a:pt x="95" y="31"/>
                  </a:cubicBezTo>
                  <a:cubicBezTo>
                    <a:pt x="74" y="46"/>
                    <a:pt x="54" y="59"/>
                    <a:pt x="33" y="74"/>
                  </a:cubicBezTo>
                  <a:cubicBezTo>
                    <a:pt x="23" y="80"/>
                    <a:pt x="13" y="77"/>
                    <a:pt x="5" y="64"/>
                  </a:cubicBezTo>
                  <a:cubicBezTo>
                    <a:pt x="0" y="51"/>
                    <a:pt x="0" y="41"/>
                    <a:pt x="10" y="36"/>
                  </a:cubicBezTo>
                  <a:cubicBezTo>
                    <a:pt x="33" y="26"/>
                    <a:pt x="56" y="15"/>
                    <a:pt x="79" y="5"/>
                  </a:cubicBezTo>
                  <a:cubicBezTo>
                    <a:pt x="90" y="0"/>
                    <a:pt x="100" y="8"/>
                    <a:pt x="100" y="23"/>
                  </a:cubicBezTo>
                  <a:close/>
                </a:path>
              </a:pathLst>
            </a:custGeom>
            <a:solidFill>
              <a:srgbClr val="FBB32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4" name="Freeform 44"/>
            <p:cNvSpPr>
              <a:spLocks/>
            </p:cNvSpPr>
            <p:nvPr/>
          </p:nvSpPr>
          <p:spPr bwMode="auto">
            <a:xfrm>
              <a:off x="309" y="4096"/>
              <a:ext cx="16" cy="13"/>
            </a:xfrm>
            <a:custGeom>
              <a:avLst/>
              <a:gdLst>
                <a:gd name="T0" fmla="*/ 25 w 102"/>
                <a:gd name="T1" fmla="*/ 77 h 77"/>
                <a:gd name="T2" fmla="*/ 2 w 102"/>
                <a:gd name="T3" fmla="*/ 56 h 77"/>
                <a:gd name="T4" fmla="*/ 13 w 102"/>
                <a:gd name="T5" fmla="*/ 36 h 77"/>
                <a:gd name="T6" fmla="*/ 79 w 102"/>
                <a:gd name="T7" fmla="*/ 5 h 77"/>
                <a:gd name="T8" fmla="*/ 97 w 102"/>
                <a:gd name="T9" fmla="*/ 10 h 77"/>
                <a:gd name="T10" fmla="*/ 92 w 102"/>
                <a:gd name="T11" fmla="*/ 31 h 77"/>
                <a:gd name="T12" fmla="*/ 33 w 102"/>
                <a:gd name="T13" fmla="*/ 74 h 77"/>
                <a:gd name="T14" fmla="*/ 25 w 102"/>
                <a:gd name="T15" fmla="*/ 77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02" h="77">
                  <a:moveTo>
                    <a:pt x="25" y="77"/>
                  </a:moveTo>
                  <a:cubicBezTo>
                    <a:pt x="15" y="77"/>
                    <a:pt x="5" y="69"/>
                    <a:pt x="2" y="56"/>
                  </a:cubicBezTo>
                  <a:cubicBezTo>
                    <a:pt x="0" y="46"/>
                    <a:pt x="2" y="41"/>
                    <a:pt x="13" y="36"/>
                  </a:cubicBezTo>
                  <a:cubicBezTo>
                    <a:pt x="36" y="26"/>
                    <a:pt x="56" y="15"/>
                    <a:pt x="79" y="5"/>
                  </a:cubicBezTo>
                  <a:cubicBezTo>
                    <a:pt x="87" y="0"/>
                    <a:pt x="92" y="5"/>
                    <a:pt x="97" y="10"/>
                  </a:cubicBezTo>
                  <a:cubicBezTo>
                    <a:pt x="102" y="18"/>
                    <a:pt x="102" y="26"/>
                    <a:pt x="92" y="31"/>
                  </a:cubicBezTo>
                  <a:cubicBezTo>
                    <a:pt x="74" y="46"/>
                    <a:pt x="54" y="59"/>
                    <a:pt x="33" y="74"/>
                  </a:cubicBezTo>
                  <a:cubicBezTo>
                    <a:pt x="31" y="74"/>
                    <a:pt x="28" y="77"/>
                    <a:pt x="25" y="77"/>
                  </a:cubicBezTo>
                  <a:close/>
                </a:path>
              </a:pathLst>
            </a:custGeom>
            <a:solidFill>
              <a:srgbClr val="FBB32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5" name="Freeform 45"/>
            <p:cNvSpPr>
              <a:spLocks/>
            </p:cNvSpPr>
            <p:nvPr/>
          </p:nvSpPr>
          <p:spPr bwMode="auto">
            <a:xfrm>
              <a:off x="522" y="4096"/>
              <a:ext cx="16" cy="13"/>
            </a:xfrm>
            <a:custGeom>
              <a:avLst/>
              <a:gdLst>
                <a:gd name="T0" fmla="*/ 100 w 100"/>
                <a:gd name="T1" fmla="*/ 49 h 80"/>
                <a:gd name="T2" fmla="*/ 84 w 100"/>
                <a:gd name="T3" fmla="*/ 74 h 80"/>
                <a:gd name="T4" fmla="*/ 64 w 100"/>
                <a:gd name="T5" fmla="*/ 72 h 80"/>
                <a:gd name="T6" fmla="*/ 7 w 100"/>
                <a:gd name="T7" fmla="*/ 31 h 80"/>
                <a:gd name="T8" fmla="*/ 2 w 100"/>
                <a:gd name="T9" fmla="*/ 13 h 80"/>
                <a:gd name="T10" fmla="*/ 23 w 100"/>
                <a:gd name="T11" fmla="*/ 5 h 80"/>
                <a:gd name="T12" fmla="*/ 90 w 100"/>
                <a:gd name="T13" fmla="*/ 36 h 80"/>
                <a:gd name="T14" fmla="*/ 100 w 100"/>
                <a:gd name="T15" fmla="*/ 49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00" h="80">
                  <a:moveTo>
                    <a:pt x="100" y="49"/>
                  </a:moveTo>
                  <a:cubicBezTo>
                    <a:pt x="97" y="62"/>
                    <a:pt x="95" y="69"/>
                    <a:pt x="84" y="74"/>
                  </a:cubicBezTo>
                  <a:cubicBezTo>
                    <a:pt x="77" y="80"/>
                    <a:pt x="72" y="77"/>
                    <a:pt x="64" y="72"/>
                  </a:cubicBezTo>
                  <a:cubicBezTo>
                    <a:pt x="46" y="59"/>
                    <a:pt x="28" y="44"/>
                    <a:pt x="7" y="31"/>
                  </a:cubicBezTo>
                  <a:cubicBezTo>
                    <a:pt x="0" y="26"/>
                    <a:pt x="0" y="21"/>
                    <a:pt x="2" y="13"/>
                  </a:cubicBezTo>
                  <a:cubicBezTo>
                    <a:pt x="7" y="3"/>
                    <a:pt x="13" y="0"/>
                    <a:pt x="23" y="5"/>
                  </a:cubicBezTo>
                  <a:cubicBezTo>
                    <a:pt x="46" y="15"/>
                    <a:pt x="66" y="26"/>
                    <a:pt x="90" y="36"/>
                  </a:cubicBezTo>
                  <a:cubicBezTo>
                    <a:pt x="95" y="39"/>
                    <a:pt x="97" y="44"/>
                    <a:pt x="100" y="49"/>
                  </a:cubicBezTo>
                  <a:close/>
                </a:path>
              </a:pathLst>
            </a:custGeom>
            <a:solidFill>
              <a:srgbClr val="FBB32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6" name="Freeform 46"/>
            <p:cNvSpPr>
              <a:spLocks/>
            </p:cNvSpPr>
            <p:nvPr/>
          </p:nvSpPr>
          <p:spPr bwMode="auto">
            <a:xfrm>
              <a:off x="339" y="4096"/>
              <a:ext cx="16" cy="14"/>
            </a:xfrm>
            <a:custGeom>
              <a:avLst/>
              <a:gdLst>
                <a:gd name="T0" fmla="*/ 102 w 102"/>
                <a:gd name="T1" fmla="*/ 54 h 82"/>
                <a:gd name="T2" fmla="*/ 84 w 102"/>
                <a:gd name="T3" fmla="*/ 74 h 82"/>
                <a:gd name="T4" fmla="*/ 64 w 102"/>
                <a:gd name="T5" fmla="*/ 69 h 82"/>
                <a:gd name="T6" fmla="*/ 7 w 102"/>
                <a:gd name="T7" fmla="*/ 31 h 82"/>
                <a:gd name="T8" fmla="*/ 2 w 102"/>
                <a:gd name="T9" fmla="*/ 13 h 82"/>
                <a:gd name="T10" fmla="*/ 23 w 102"/>
                <a:gd name="T11" fmla="*/ 5 h 82"/>
                <a:gd name="T12" fmla="*/ 90 w 102"/>
                <a:gd name="T13" fmla="*/ 36 h 82"/>
                <a:gd name="T14" fmla="*/ 102 w 102"/>
                <a:gd name="T15" fmla="*/ 54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02" h="82">
                  <a:moveTo>
                    <a:pt x="102" y="54"/>
                  </a:moveTo>
                  <a:cubicBezTo>
                    <a:pt x="95" y="62"/>
                    <a:pt x="92" y="69"/>
                    <a:pt x="84" y="74"/>
                  </a:cubicBezTo>
                  <a:cubicBezTo>
                    <a:pt x="77" y="82"/>
                    <a:pt x="69" y="74"/>
                    <a:pt x="64" y="69"/>
                  </a:cubicBezTo>
                  <a:cubicBezTo>
                    <a:pt x="46" y="56"/>
                    <a:pt x="25" y="44"/>
                    <a:pt x="7" y="31"/>
                  </a:cubicBezTo>
                  <a:cubicBezTo>
                    <a:pt x="0" y="26"/>
                    <a:pt x="0" y="21"/>
                    <a:pt x="2" y="13"/>
                  </a:cubicBezTo>
                  <a:cubicBezTo>
                    <a:pt x="7" y="5"/>
                    <a:pt x="13" y="0"/>
                    <a:pt x="23" y="5"/>
                  </a:cubicBezTo>
                  <a:cubicBezTo>
                    <a:pt x="46" y="15"/>
                    <a:pt x="66" y="26"/>
                    <a:pt x="90" y="36"/>
                  </a:cubicBezTo>
                  <a:cubicBezTo>
                    <a:pt x="95" y="39"/>
                    <a:pt x="97" y="46"/>
                    <a:pt x="102" y="54"/>
                  </a:cubicBezTo>
                  <a:close/>
                </a:path>
              </a:pathLst>
            </a:custGeom>
            <a:solidFill>
              <a:srgbClr val="FBB32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7" name="Freeform 47"/>
            <p:cNvSpPr>
              <a:spLocks/>
            </p:cNvSpPr>
            <p:nvPr/>
          </p:nvSpPr>
          <p:spPr bwMode="auto">
            <a:xfrm>
              <a:off x="522" y="4078"/>
              <a:ext cx="16" cy="13"/>
            </a:xfrm>
            <a:custGeom>
              <a:avLst/>
              <a:gdLst>
                <a:gd name="T0" fmla="*/ 0 w 102"/>
                <a:gd name="T1" fmla="*/ 57 h 80"/>
                <a:gd name="T2" fmla="*/ 7 w 102"/>
                <a:gd name="T3" fmla="*/ 49 h 80"/>
                <a:gd name="T4" fmla="*/ 69 w 102"/>
                <a:gd name="T5" fmla="*/ 6 h 80"/>
                <a:gd name="T6" fmla="*/ 95 w 102"/>
                <a:gd name="T7" fmla="*/ 16 h 80"/>
                <a:gd name="T8" fmla="*/ 90 w 102"/>
                <a:gd name="T9" fmla="*/ 44 h 80"/>
                <a:gd name="T10" fmla="*/ 23 w 102"/>
                <a:gd name="T11" fmla="*/ 75 h 80"/>
                <a:gd name="T12" fmla="*/ 0 w 102"/>
                <a:gd name="T13" fmla="*/ 57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2" h="80">
                  <a:moveTo>
                    <a:pt x="0" y="57"/>
                  </a:moveTo>
                  <a:cubicBezTo>
                    <a:pt x="2" y="57"/>
                    <a:pt x="2" y="52"/>
                    <a:pt x="7" y="49"/>
                  </a:cubicBezTo>
                  <a:cubicBezTo>
                    <a:pt x="28" y="36"/>
                    <a:pt x="48" y="21"/>
                    <a:pt x="69" y="6"/>
                  </a:cubicBezTo>
                  <a:cubicBezTo>
                    <a:pt x="79" y="0"/>
                    <a:pt x="90" y="6"/>
                    <a:pt x="95" y="16"/>
                  </a:cubicBezTo>
                  <a:cubicBezTo>
                    <a:pt x="102" y="29"/>
                    <a:pt x="100" y="39"/>
                    <a:pt x="90" y="44"/>
                  </a:cubicBezTo>
                  <a:cubicBezTo>
                    <a:pt x="66" y="54"/>
                    <a:pt x="46" y="64"/>
                    <a:pt x="23" y="75"/>
                  </a:cubicBezTo>
                  <a:cubicBezTo>
                    <a:pt x="13" y="80"/>
                    <a:pt x="2" y="72"/>
                    <a:pt x="0" y="57"/>
                  </a:cubicBezTo>
                  <a:close/>
                </a:path>
              </a:pathLst>
            </a:custGeom>
            <a:solidFill>
              <a:srgbClr val="FBB32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8" name="Freeform 48"/>
            <p:cNvSpPr>
              <a:spLocks/>
            </p:cNvSpPr>
            <p:nvPr/>
          </p:nvSpPr>
          <p:spPr bwMode="auto">
            <a:xfrm>
              <a:off x="328" y="4067"/>
              <a:ext cx="8" cy="18"/>
            </a:xfrm>
            <a:custGeom>
              <a:avLst/>
              <a:gdLst>
                <a:gd name="T0" fmla="*/ 23 w 46"/>
                <a:gd name="T1" fmla="*/ 3 h 108"/>
                <a:gd name="T2" fmla="*/ 43 w 46"/>
                <a:gd name="T3" fmla="*/ 26 h 108"/>
                <a:gd name="T4" fmla="*/ 38 w 46"/>
                <a:gd name="T5" fmla="*/ 90 h 108"/>
                <a:gd name="T6" fmla="*/ 23 w 46"/>
                <a:gd name="T7" fmla="*/ 108 h 108"/>
                <a:gd name="T8" fmla="*/ 7 w 46"/>
                <a:gd name="T9" fmla="*/ 93 h 108"/>
                <a:gd name="T10" fmla="*/ 2 w 46"/>
                <a:gd name="T11" fmla="*/ 18 h 108"/>
                <a:gd name="T12" fmla="*/ 23 w 46"/>
                <a:gd name="T13" fmla="*/ 3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6" h="108">
                  <a:moveTo>
                    <a:pt x="23" y="3"/>
                  </a:moveTo>
                  <a:cubicBezTo>
                    <a:pt x="41" y="3"/>
                    <a:pt x="46" y="11"/>
                    <a:pt x="43" y="26"/>
                  </a:cubicBezTo>
                  <a:cubicBezTo>
                    <a:pt x="43" y="46"/>
                    <a:pt x="41" y="70"/>
                    <a:pt x="38" y="90"/>
                  </a:cubicBezTo>
                  <a:cubicBezTo>
                    <a:pt x="38" y="103"/>
                    <a:pt x="33" y="108"/>
                    <a:pt x="23" y="108"/>
                  </a:cubicBezTo>
                  <a:cubicBezTo>
                    <a:pt x="15" y="108"/>
                    <a:pt x="10" y="103"/>
                    <a:pt x="7" y="93"/>
                  </a:cubicBezTo>
                  <a:cubicBezTo>
                    <a:pt x="5" y="67"/>
                    <a:pt x="5" y="44"/>
                    <a:pt x="2" y="18"/>
                  </a:cubicBezTo>
                  <a:cubicBezTo>
                    <a:pt x="0" y="8"/>
                    <a:pt x="10" y="0"/>
                    <a:pt x="23" y="3"/>
                  </a:cubicBezTo>
                  <a:close/>
                </a:path>
              </a:pathLst>
            </a:custGeom>
            <a:solidFill>
              <a:srgbClr val="FBB32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9" name="Freeform 49"/>
            <p:cNvSpPr>
              <a:spLocks/>
            </p:cNvSpPr>
            <p:nvPr/>
          </p:nvSpPr>
          <p:spPr bwMode="auto">
            <a:xfrm>
              <a:off x="308" y="4078"/>
              <a:ext cx="17" cy="13"/>
            </a:xfrm>
            <a:custGeom>
              <a:avLst/>
              <a:gdLst>
                <a:gd name="T0" fmla="*/ 103 w 103"/>
                <a:gd name="T1" fmla="*/ 57 h 80"/>
                <a:gd name="T2" fmla="*/ 80 w 103"/>
                <a:gd name="T3" fmla="*/ 75 h 80"/>
                <a:gd name="T4" fmla="*/ 16 w 103"/>
                <a:gd name="T5" fmla="*/ 44 h 80"/>
                <a:gd name="T6" fmla="*/ 8 w 103"/>
                <a:gd name="T7" fmla="*/ 16 h 80"/>
                <a:gd name="T8" fmla="*/ 36 w 103"/>
                <a:gd name="T9" fmla="*/ 8 h 80"/>
                <a:gd name="T10" fmla="*/ 95 w 103"/>
                <a:gd name="T11" fmla="*/ 49 h 80"/>
                <a:gd name="T12" fmla="*/ 103 w 103"/>
                <a:gd name="T13" fmla="*/ 57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3" h="80">
                  <a:moveTo>
                    <a:pt x="103" y="57"/>
                  </a:moveTo>
                  <a:cubicBezTo>
                    <a:pt x="103" y="72"/>
                    <a:pt x="93" y="80"/>
                    <a:pt x="80" y="75"/>
                  </a:cubicBezTo>
                  <a:cubicBezTo>
                    <a:pt x="59" y="64"/>
                    <a:pt x="36" y="54"/>
                    <a:pt x="16" y="44"/>
                  </a:cubicBezTo>
                  <a:cubicBezTo>
                    <a:pt x="3" y="39"/>
                    <a:pt x="0" y="29"/>
                    <a:pt x="8" y="16"/>
                  </a:cubicBezTo>
                  <a:cubicBezTo>
                    <a:pt x="16" y="3"/>
                    <a:pt x="26" y="0"/>
                    <a:pt x="36" y="8"/>
                  </a:cubicBezTo>
                  <a:cubicBezTo>
                    <a:pt x="57" y="21"/>
                    <a:pt x="77" y="36"/>
                    <a:pt x="95" y="49"/>
                  </a:cubicBezTo>
                  <a:cubicBezTo>
                    <a:pt x="100" y="52"/>
                    <a:pt x="100" y="57"/>
                    <a:pt x="103" y="57"/>
                  </a:cubicBezTo>
                  <a:close/>
                </a:path>
              </a:pathLst>
            </a:custGeom>
            <a:solidFill>
              <a:srgbClr val="FBB32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0" name="Freeform 50"/>
            <p:cNvSpPr>
              <a:spLocks/>
            </p:cNvSpPr>
            <p:nvPr/>
          </p:nvSpPr>
          <p:spPr bwMode="auto">
            <a:xfrm>
              <a:off x="244" y="3720"/>
              <a:ext cx="61" cy="48"/>
            </a:xfrm>
            <a:custGeom>
              <a:avLst/>
              <a:gdLst>
                <a:gd name="T0" fmla="*/ 0 w 369"/>
                <a:gd name="T1" fmla="*/ 0 h 292"/>
                <a:gd name="T2" fmla="*/ 59 w 369"/>
                <a:gd name="T3" fmla="*/ 3 h 292"/>
                <a:gd name="T4" fmla="*/ 66 w 369"/>
                <a:gd name="T5" fmla="*/ 10 h 292"/>
                <a:gd name="T6" fmla="*/ 105 w 369"/>
                <a:gd name="T7" fmla="*/ 213 h 292"/>
                <a:gd name="T8" fmla="*/ 105 w 369"/>
                <a:gd name="T9" fmla="*/ 221 h 292"/>
                <a:gd name="T10" fmla="*/ 156 w 369"/>
                <a:gd name="T11" fmla="*/ 0 h 292"/>
                <a:gd name="T12" fmla="*/ 215 w 369"/>
                <a:gd name="T13" fmla="*/ 3 h 292"/>
                <a:gd name="T14" fmla="*/ 223 w 369"/>
                <a:gd name="T15" fmla="*/ 8 h 292"/>
                <a:gd name="T16" fmla="*/ 266 w 369"/>
                <a:gd name="T17" fmla="*/ 216 h 292"/>
                <a:gd name="T18" fmla="*/ 269 w 369"/>
                <a:gd name="T19" fmla="*/ 198 h 292"/>
                <a:gd name="T20" fmla="*/ 307 w 369"/>
                <a:gd name="T21" fmla="*/ 10 h 292"/>
                <a:gd name="T22" fmla="*/ 317 w 369"/>
                <a:gd name="T23" fmla="*/ 0 h 292"/>
                <a:gd name="T24" fmla="*/ 369 w 369"/>
                <a:gd name="T25" fmla="*/ 0 h 292"/>
                <a:gd name="T26" fmla="*/ 366 w 369"/>
                <a:gd name="T27" fmla="*/ 16 h 292"/>
                <a:gd name="T28" fmla="*/ 297 w 369"/>
                <a:gd name="T29" fmla="*/ 280 h 292"/>
                <a:gd name="T30" fmla="*/ 284 w 369"/>
                <a:gd name="T31" fmla="*/ 290 h 292"/>
                <a:gd name="T32" fmla="*/ 248 w 369"/>
                <a:gd name="T33" fmla="*/ 287 h 292"/>
                <a:gd name="T34" fmla="*/ 223 w 369"/>
                <a:gd name="T35" fmla="*/ 251 h 292"/>
                <a:gd name="T36" fmla="*/ 187 w 369"/>
                <a:gd name="T37" fmla="*/ 85 h 292"/>
                <a:gd name="T38" fmla="*/ 187 w 369"/>
                <a:gd name="T39" fmla="*/ 77 h 292"/>
                <a:gd name="T40" fmla="*/ 164 w 369"/>
                <a:gd name="T41" fmla="*/ 177 h 292"/>
                <a:gd name="T42" fmla="*/ 138 w 369"/>
                <a:gd name="T43" fmla="*/ 282 h 292"/>
                <a:gd name="T44" fmla="*/ 128 w 369"/>
                <a:gd name="T45" fmla="*/ 290 h 292"/>
                <a:gd name="T46" fmla="*/ 97 w 369"/>
                <a:gd name="T47" fmla="*/ 290 h 292"/>
                <a:gd name="T48" fmla="*/ 64 w 369"/>
                <a:gd name="T49" fmla="*/ 262 h 292"/>
                <a:gd name="T50" fmla="*/ 46 w 369"/>
                <a:gd name="T51" fmla="*/ 195 h 292"/>
                <a:gd name="T52" fmla="*/ 0 w 369"/>
                <a:gd name="T53" fmla="*/ 8 h 292"/>
                <a:gd name="T54" fmla="*/ 0 w 369"/>
                <a:gd name="T55" fmla="*/ 0 h 2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369" h="292">
                  <a:moveTo>
                    <a:pt x="0" y="0"/>
                  </a:moveTo>
                  <a:cubicBezTo>
                    <a:pt x="20" y="0"/>
                    <a:pt x="41" y="0"/>
                    <a:pt x="59" y="3"/>
                  </a:cubicBezTo>
                  <a:cubicBezTo>
                    <a:pt x="61" y="3"/>
                    <a:pt x="66" y="5"/>
                    <a:pt x="66" y="10"/>
                  </a:cubicBezTo>
                  <a:cubicBezTo>
                    <a:pt x="79" y="77"/>
                    <a:pt x="92" y="144"/>
                    <a:pt x="105" y="213"/>
                  </a:cubicBezTo>
                  <a:cubicBezTo>
                    <a:pt x="105" y="213"/>
                    <a:pt x="105" y="216"/>
                    <a:pt x="105" y="221"/>
                  </a:cubicBezTo>
                  <a:cubicBezTo>
                    <a:pt x="123" y="146"/>
                    <a:pt x="138" y="75"/>
                    <a:pt x="156" y="0"/>
                  </a:cubicBezTo>
                  <a:cubicBezTo>
                    <a:pt x="176" y="0"/>
                    <a:pt x="194" y="0"/>
                    <a:pt x="215" y="3"/>
                  </a:cubicBezTo>
                  <a:cubicBezTo>
                    <a:pt x="217" y="3"/>
                    <a:pt x="220" y="5"/>
                    <a:pt x="223" y="8"/>
                  </a:cubicBezTo>
                  <a:cubicBezTo>
                    <a:pt x="235" y="77"/>
                    <a:pt x="251" y="146"/>
                    <a:pt x="266" y="216"/>
                  </a:cubicBezTo>
                  <a:cubicBezTo>
                    <a:pt x="266" y="210"/>
                    <a:pt x="269" y="205"/>
                    <a:pt x="269" y="198"/>
                  </a:cubicBezTo>
                  <a:cubicBezTo>
                    <a:pt x="282" y="136"/>
                    <a:pt x="294" y="75"/>
                    <a:pt x="307" y="10"/>
                  </a:cubicBezTo>
                  <a:cubicBezTo>
                    <a:pt x="307" y="3"/>
                    <a:pt x="310" y="0"/>
                    <a:pt x="317" y="0"/>
                  </a:cubicBezTo>
                  <a:cubicBezTo>
                    <a:pt x="335" y="3"/>
                    <a:pt x="351" y="0"/>
                    <a:pt x="369" y="0"/>
                  </a:cubicBezTo>
                  <a:cubicBezTo>
                    <a:pt x="369" y="8"/>
                    <a:pt x="369" y="10"/>
                    <a:pt x="366" y="16"/>
                  </a:cubicBezTo>
                  <a:cubicBezTo>
                    <a:pt x="343" y="103"/>
                    <a:pt x="320" y="192"/>
                    <a:pt x="297" y="280"/>
                  </a:cubicBezTo>
                  <a:cubicBezTo>
                    <a:pt x="294" y="287"/>
                    <a:pt x="292" y="290"/>
                    <a:pt x="284" y="290"/>
                  </a:cubicBezTo>
                  <a:cubicBezTo>
                    <a:pt x="271" y="290"/>
                    <a:pt x="259" y="290"/>
                    <a:pt x="248" y="287"/>
                  </a:cubicBezTo>
                  <a:cubicBezTo>
                    <a:pt x="233" y="282"/>
                    <a:pt x="225" y="267"/>
                    <a:pt x="223" y="251"/>
                  </a:cubicBezTo>
                  <a:cubicBezTo>
                    <a:pt x="210" y="195"/>
                    <a:pt x="200" y="141"/>
                    <a:pt x="187" y="85"/>
                  </a:cubicBezTo>
                  <a:cubicBezTo>
                    <a:pt x="187" y="82"/>
                    <a:pt x="187" y="80"/>
                    <a:pt x="187" y="77"/>
                  </a:cubicBezTo>
                  <a:cubicBezTo>
                    <a:pt x="176" y="110"/>
                    <a:pt x="171" y="144"/>
                    <a:pt x="164" y="177"/>
                  </a:cubicBezTo>
                  <a:cubicBezTo>
                    <a:pt x="153" y="210"/>
                    <a:pt x="146" y="246"/>
                    <a:pt x="138" y="282"/>
                  </a:cubicBezTo>
                  <a:cubicBezTo>
                    <a:pt x="135" y="287"/>
                    <a:pt x="133" y="290"/>
                    <a:pt x="128" y="290"/>
                  </a:cubicBezTo>
                  <a:cubicBezTo>
                    <a:pt x="118" y="290"/>
                    <a:pt x="107" y="292"/>
                    <a:pt x="97" y="290"/>
                  </a:cubicBezTo>
                  <a:cubicBezTo>
                    <a:pt x="79" y="290"/>
                    <a:pt x="69" y="277"/>
                    <a:pt x="64" y="262"/>
                  </a:cubicBezTo>
                  <a:cubicBezTo>
                    <a:pt x="56" y="239"/>
                    <a:pt x="51" y="216"/>
                    <a:pt x="46" y="195"/>
                  </a:cubicBezTo>
                  <a:cubicBezTo>
                    <a:pt x="30" y="131"/>
                    <a:pt x="15" y="69"/>
                    <a:pt x="0" y="8"/>
                  </a:cubicBezTo>
                  <a:cubicBezTo>
                    <a:pt x="0" y="5"/>
                    <a:pt x="0" y="5"/>
                    <a:pt x="0" y="0"/>
                  </a:cubicBezTo>
                  <a:close/>
                </a:path>
              </a:pathLst>
            </a:custGeom>
            <a:solidFill>
              <a:srgbClr val="FEFE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1" name="Freeform 51"/>
            <p:cNvSpPr>
              <a:spLocks/>
            </p:cNvSpPr>
            <p:nvPr/>
          </p:nvSpPr>
          <p:spPr bwMode="auto">
            <a:xfrm>
              <a:off x="356" y="3728"/>
              <a:ext cx="54" cy="39"/>
            </a:xfrm>
            <a:custGeom>
              <a:avLst/>
              <a:gdLst>
                <a:gd name="T0" fmla="*/ 323 w 323"/>
                <a:gd name="T1" fmla="*/ 238 h 238"/>
                <a:gd name="T2" fmla="*/ 265 w 323"/>
                <a:gd name="T3" fmla="*/ 238 h 238"/>
                <a:gd name="T4" fmla="*/ 265 w 323"/>
                <a:gd name="T5" fmla="*/ 228 h 238"/>
                <a:gd name="T6" fmla="*/ 265 w 323"/>
                <a:gd name="T7" fmla="*/ 123 h 238"/>
                <a:gd name="T8" fmla="*/ 259 w 323"/>
                <a:gd name="T9" fmla="*/ 95 h 238"/>
                <a:gd name="T10" fmla="*/ 229 w 323"/>
                <a:gd name="T11" fmla="*/ 69 h 238"/>
                <a:gd name="T12" fmla="*/ 195 w 323"/>
                <a:gd name="T13" fmla="*/ 92 h 238"/>
                <a:gd name="T14" fmla="*/ 190 w 323"/>
                <a:gd name="T15" fmla="*/ 115 h 238"/>
                <a:gd name="T16" fmla="*/ 190 w 323"/>
                <a:gd name="T17" fmla="*/ 238 h 238"/>
                <a:gd name="T18" fmla="*/ 131 w 323"/>
                <a:gd name="T19" fmla="*/ 238 h 238"/>
                <a:gd name="T20" fmla="*/ 131 w 323"/>
                <a:gd name="T21" fmla="*/ 143 h 238"/>
                <a:gd name="T22" fmla="*/ 131 w 323"/>
                <a:gd name="T23" fmla="*/ 100 h 238"/>
                <a:gd name="T24" fmla="*/ 106 w 323"/>
                <a:gd name="T25" fmla="*/ 69 h 238"/>
                <a:gd name="T26" fmla="*/ 67 w 323"/>
                <a:gd name="T27" fmla="*/ 90 h 238"/>
                <a:gd name="T28" fmla="*/ 59 w 323"/>
                <a:gd name="T29" fmla="*/ 115 h 238"/>
                <a:gd name="T30" fmla="*/ 59 w 323"/>
                <a:gd name="T31" fmla="*/ 228 h 238"/>
                <a:gd name="T32" fmla="*/ 59 w 323"/>
                <a:gd name="T33" fmla="*/ 238 h 238"/>
                <a:gd name="T34" fmla="*/ 0 w 323"/>
                <a:gd name="T35" fmla="*/ 238 h 238"/>
                <a:gd name="T36" fmla="*/ 0 w 323"/>
                <a:gd name="T37" fmla="*/ 26 h 238"/>
                <a:gd name="T38" fmla="*/ 57 w 323"/>
                <a:gd name="T39" fmla="*/ 26 h 238"/>
                <a:gd name="T40" fmla="*/ 57 w 323"/>
                <a:gd name="T41" fmla="*/ 51 h 238"/>
                <a:gd name="T42" fmla="*/ 180 w 323"/>
                <a:gd name="T43" fmla="*/ 56 h 238"/>
                <a:gd name="T44" fmla="*/ 193 w 323"/>
                <a:gd name="T45" fmla="*/ 41 h 238"/>
                <a:gd name="T46" fmla="*/ 275 w 323"/>
                <a:gd name="T47" fmla="*/ 23 h 238"/>
                <a:gd name="T48" fmla="*/ 321 w 323"/>
                <a:gd name="T49" fmla="*/ 87 h 238"/>
                <a:gd name="T50" fmla="*/ 323 w 323"/>
                <a:gd name="T51" fmla="*/ 154 h 238"/>
                <a:gd name="T52" fmla="*/ 323 w 323"/>
                <a:gd name="T53" fmla="*/ 238 h 2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323" h="238">
                  <a:moveTo>
                    <a:pt x="323" y="238"/>
                  </a:moveTo>
                  <a:cubicBezTo>
                    <a:pt x="303" y="238"/>
                    <a:pt x="282" y="238"/>
                    <a:pt x="265" y="238"/>
                  </a:cubicBezTo>
                  <a:cubicBezTo>
                    <a:pt x="265" y="236"/>
                    <a:pt x="265" y="231"/>
                    <a:pt x="265" y="228"/>
                  </a:cubicBezTo>
                  <a:cubicBezTo>
                    <a:pt x="265" y="192"/>
                    <a:pt x="265" y="159"/>
                    <a:pt x="265" y="123"/>
                  </a:cubicBezTo>
                  <a:cubicBezTo>
                    <a:pt x="262" y="113"/>
                    <a:pt x="262" y="102"/>
                    <a:pt x="259" y="95"/>
                  </a:cubicBezTo>
                  <a:cubicBezTo>
                    <a:pt x="254" y="77"/>
                    <a:pt x="244" y="69"/>
                    <a:pt x="229" y="69"/>
                  </a:cubicBezTo>
                  <a:cubicBezTo>
                    <a:pt x="213" y="69"/>
                    <a:pt x="200" y="77"/>
                    <a:pt x="195" y="92"/>
                  </a:cubicBezTo>
                  <a:cubicBezTo>
                    <a:pt x="193" y="100"/>
                    <a:pt x="190" y="108"/>
                    <a:pt x="190" y="115"/>
                  </a:cubicBezTo>
                  <a:cubicBezTo>
                    <a:pt x="190" y="156"/>
                    <a:pt x="190" y="197"/>
                    <a:pt x="190" y="238"/>
                  </a:cubicBezTo>
                  <a:cubicBezTo>
                    <a:pt x="172" y="238"/>
                    <a:pt x="152" y="238"/>
                    <a:pt x="131" y="238"/>
                  </a:cubicBezTo>
                  <a:cubicBezTo>
                    <a:pt x="131" y="208"/>
                    <a:pt x="134" y="177"/>
                    <a:pt x="131" y="143"/>
                  </a:cubicBezTo>
                  <a:cubicBezTo>
                    <a:pt x="131" y="128"/>
                    <a:pt x="131" y="115"/>
                    <a:pt x="131" y="100"/>
                  </a:cubicBezTo>
                  <a:cubicBezTo>
                    <a:pt x="129" y="82"/>
                    <a:pt x="118" y="72"/>
                    <a:pt x="106" y="69"/>
                  </a:cubicBezTo>
                  <a:cubicBezTo>
                    <a:pt x="88" y="67"/>
                    <a:pt x="75" y="74"/>
                    <a:pt x="67" y="90"/>
                  </a:cubicBezTo>
                  <a:cubicBezTo>
                    <a:pt x="62" y="97"/>
                    <a:pt x="59" y="105"/>
                    <a:pt x="59" y="115"/>
                  </a:cubicBezTo>
                  <a:cubicBezTo>
                    <a:pt x="59" y="151"/>
                    <a:pt x="59" y="190"/>
                    <a:pt x="59" y="228"/>
                  </a:cubicBezTo>
                  <a:cubicBezTo>
                    <a:pt x="59" y="231"/>
                    <a:pt x="59" y="236"/>
                    <a:pt x="59" y="238"/>
                  </a:cubicBezTo>
                  <a:cubicBezTo>
                    <a:pt x="39" y="238"/>
                    <a:pt x="21" y="238"/>
                    <a:pt x="0" y="238"/>
                  </a:cubicBezTo>
                  <a:cubicBezTo>
                    <a:pt x="0" y="169"/>
                    <a:pt x="0" y="97"/>
                    <a:pt x="0" y="26"/>
                  </a:cubicBezTo>
                  <a:cubicBezTo>
                    <a:pt x="18" y="26"/>
                    <a:pt x="36" y="26"/>
                    <a:pt x="57" y="26"/>
                  </a:cubicBezTo>
                  <a:cubicBezTo>
                    <a:pt x="57" y="33"/>
                    <a:pt x="57" y="41"/>
                    <a:pt x="57" y="51"/>
                  </a:cubicBezTo>
                  <a:cubicBezTo>
                    <a:pt x="93" y="0"/>
                    <a:pt x="162" y="15"/>
                    <a:pt x="180" y="56"/>
                  </a:cubicBezTo>
                  <a:cubicBezTo>
                    <a:pt x="185" y="51"/>
                    <a:pt x="188" y="46"/>
                    <a:pt x="193" y="41"/>
                  </a:cubicBezTo>
                  <a:cubicBezTo>
                    <a:pt x="216" y="20"/>
                    <a:pt x="244" y="13"/>
                    <a:pt x="275" y="23"/>
                  </a:cubicBezTo>
                  <a:cubicBezTo>
                    <a:pt x="303" y="33"/>
                    <a:pt x="316" y="59"/>
                    <a:pt x="321" y="87"/>
                  </a:cubicBezTo>
                  <a:cubicBezTo>
                    <a:pt x="323" y="110"/>
                    <a:pt x="321" y="131"/>
                    <a:pt x="323" y="154"/>
                  </a:cubicBezTo>
                  <a:cubicBezTo>
                    <a:pt x="323" y="182"/>
                    <a:pt x="323" y="210"/>
                    <a:pt x="323" y="238"/>
                  </a:cubicBezTo>
                  <a:close/>
                </a:path>
              </a:pathLst>
            </a:custGeom>
            <a:solidFill>
              <a:srgbClr val="FEFE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2" name="Freeform 52"/>
            <p:cNvSpPr>
              <a:spLocks/>
            </p:cNvSpPr>
            <p:nvPr/>
          </p:nvSpPr>
          <p:spPr bwMode="auto">
            <a:xfrm>
              <a:off x="302" y="3731"/>
              <a:ext cx="32" cy="38"/>
            </a:xfrm>
            <a:custGeom>
              <a:avLst/>
              <a:gdLst>
                <a:gd name="T0" fmla="*/ 133 w 195"/>
                <a:gd name="T1" fmla="*/ 79 h 231"/>
                <a:gd name="T2" fmla="*/ 102 w 195"/>
                <a:gd name="T3" fmla="*/ 43 h 231"/>
                <a:gd name="T4" fmla="*/ 33 w 195"/>
                <a:gd name="T5" fmla="*/ 59 h 231"/>
                <a:gd name="T6" fmla="*/ 20 w 195"/>
                <a:gd name="T7" fmla="*/ 18 h 231"/>
                <a:gd name="T8" fmla="*/ 64 w 195"/>
                <a:gd name="T9" fmla="*/ 5 h 231"/>
                <a:gd name="T10" fmla="*/ 120 w 195"/>
                <a:gd name="T11" fmla="*/ 2 h 231"/>
                <a:gd name="T12" fmla="*/ 192 w 195"/>
                <a:gd name="T13" fmla="*/ 90 h 231"/>
                <a:gd name="T14" fmla="*/ 195 w 195"/>
                <a:gd name="T15" fmla="*/ 190 h 231"/>
                <a:gd name="T16" fmla="*/ 195 w 195"/>
                <a:gd name="T17" fmla="*/ 220 h 231"/>
                <a:gd name="T18" fmla="*/ 138 w 195"/>
                <a:gd name="T19" fmla="*/ 200 h 231"/>
                <a:gd name="T20" fmla="*/ 72 w 195"/>
                <a:gd name="T21" fmla="*/ 225 h 231"/>
                <a:gd name="T22" fmla="*/ 7 w 195"/>
                <a:gd name="T23" fmla="*/ 182 h 231"/>
                <a:gd name="T24" fmla="*/ 36 w 195"/>
                <a:gd name="T25" fmla="*/ 102 h 231"/>
                <a:gd name="T26" fmla="*/ 100 w 195"/>
                <a:gd name="T27" fmla="*/ 82 h 231"/>
                <a:gd name="T28" fmla="*/ 133 w 195"/>
                <a:gd name="T29" fmla="*/ 79 h 2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95" h="231">
                  <a:moveTo>
                    <a:pt x="133" y="79"/>
                  </a:moveTo>
                  <a:cubicBezTo>
                    <a:pt x="131" y="59"/>
                    <a:pt x="123" y="46"/>
                    <a:pt x="102" y="43"/>
                  </a:cubicBezTo>
                  <a:cubicBezTo>
                    <a:pt x="79" y="41"/>
                    <a:pt x="56" y="49"/>
                    <a:pt x="33" y="59"/>
                  </a:cubicBezTo>
                  <a:cubicBezTo>
                    <a:pt x="28" y="46"/>
                    <a:pt x="25" y="33"/>
                    <a:pt x="20" y="18"/>
                  </a:cubicBezTo>
                  <a:cubicBezTo>
                    <a:pt x="36" y="13"/>
                    <a:pt x="48" y="8"/>
                    <a:pt x="64" y="5"/>
                  </a:cubicBezTo>
                  <a:cubicBezTo>
                    <a:pt x="82" y="2"/>
                    <a:pt x="102" y="0"/>
                    <a:pt x="120" y="2"/>
                  </a:cubicBezTo>
                  <a:cubicBezTo>
                    <a:pt x="166" y="8"/>
                    <a:pt x="192" y="38"/>
                    <a:pt x="192" y="90"/>
                  </a:cubicBezTo>
                  <a:cubicBezTo>
                    <a:pt x="195" y="123"/>
                    <a:pt x="192" y="156"/>
                    <a:pt x="195" y="190"/>
                  </a:cubicBezTo>
                  <a:cubicBezTo>
                    <a:pt x="195" y="200"/>
                    <a:pt x="195" y="210"/>
                    <a:pt x="195" y="220"/>
                  </a:cubicBezTo>
                  <a:cubicBezTo>
                    <a:pt x="174" y="231"/>
                    <a:pt x="154" y="225"/>
                    <a:pt x="138" y="200"/>
                  </a:cubicBezTo>
                  <a:cubicBezTo>
                    <a:pt x="120" y="218"/>
                    <a:pt x="97" y="228"/>
                    <a:pt x="72" y="225"/>
                  </a:cubicBezTo>
                  <a:cubicBezTo>
                    <a:pt x="41" y="225"/>
                    <a:pt x="18" y="208"/>
                    <a:pt x="7" y="182"/>
                  </a:cubicBezTo>
                  <a:cubicBezTo>
                    <a:pt x="0" y="151"/>
                    <a:pt x="10" y="120"/>
                    <a:pt x="36" y="102"/>
                  </a:cubicBezTo>
                  <a:cubicBezTo>
                    <a:pt x="54" y="90"/>
                    <a:pt x="77" y="84"/>
                    <a:pt x="100" y="82"/>
                  </a:cubicBezTo>
                  <a:cubicBezTo>
                    <a:pt x="110" y="79"/>
                    <a:pt x="120" y="79"/>
                    <a:pt x="133" y="79"/>
                  </a:cubicBezTo>
                  <a:close/>
                </a:path>
              </a:pathLst>
            </a:custGeom>
            <a:solidFill>
              <a:srgbClr val="FEFE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3" name="Freeform 53"/>
            <p:cNvSpPr>
              <a:spLocks/>
            </p:cNvSpPr>
            <p:nvPr/>
          </p:nvSpPr>
          <p:spPr bwMode="auto">
            <a:xfrm>
              <a:off x="412" y="3731"/>
              <a:ext cx="32" cy="39"/>
            </a:xfrm>
            <a:custGeom>
              <a:avLst/>
              <a:gdLst>
                <a:gd name="T0" fmla="*/ 193 w 193"/>
                <a:gd name="T1" fmla="*/ 221 h 231"/>
                <a:gd name="T2" fmla="*/ 136 w 193"/>
                <a:gd name="T3" fmla="*/ 198 h 231"/>
                <a:gd name="T4" fmla="*/ 90 w 193"/>
                <a:gd name="T5" fmla="*/ 223 h 231"/>
                <a:gd name="T6" fmla="*/ 6 w 193"/>
                <a:gd name="T7" fmla="*/ 164 h 231"/>
                <a:gd name="T8" fmla="*/ 49 w 193"/>
                <a:gd name="T9" fmla="*/ 93 h 231"/>
                <a:gd name="T10" fmla="*/ 123 w 193"/>
                <a:gd name="T11" fmla="*/ 77 h 231"/>
                <a:gd name="T12" fmla="*/ 131 w 193"/>
                <a:gd name="T13" fmla="*/ 77 h 231"/>
                <a:gd name="T14" fmla="*/ 103 w 193"/>
                <a:gd name="T15" fmla="*/ 41 h 231"/>
                <a:gd name="T16" fmla="*/ 31 w 193"/>
                <a:gd name="T17" fmla="*/ 57 h 231"/>
                <a:gd name="T18" fmla="*/ 18 w 193"/>
                <a:gd name="T19" fmla="*/ 18 h 231"/>
                <a:gd name="T20" fmla="*/ 54 w 193"/>
                <a:gd name="T21" fmla="*/ 6 h 231"/>
                <a:gd name="T22" fmla="*/ 116 w 193"/>
                <a:gd name="T23" fmla="*/ 0 h 231"/>
                <a:gd name="T24" fmla="*/ 190 w 193"/>
                <a:gd name="T25" fmla="*/ 75 h 231"/>
                <a:gd name="T26" fmla="*/ 193 w 193"/>
                <a:gd name="T27" fmla="*/ 141 h 231"/>
                <a:gd name="T28" fmla="*/ 193 w 193"/>
                <a:gd name="T29" fmla="*/ 221 h 2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93" h="231">
                  <a:moveTo>
                    <a:pt x="193" y="221"/>
                  </a:moveTo>
                  <a:cubicBezTo>
                    <a:pt x="167" y="229"/>
                    <a:pt x="149" y="221"/>
                    <a:pt x="136" y="198"/>
                  </a:cubicBezTo>
                  <a:cubicBezTo>
                    <a:pt x="123" y="211"/>
                    <a:pt x="108" y="221"/>
                    <a:pt x="90" y="223"/>
                  </a:cubicBezTo>
                  <a:cubicBezTo>
                    <a:pt x="47" y="231"/>
                    <a:pt x="8" y="206"/>
                    <a:pt x="6" y="164"/>
                  </a:cubicBezTo>
                  <a:cubicBezTo>
                    <a:pt x="0" y="134"/>
                    <a:pt x="18" y="106"/>
                    <a:pt x="49" y="93"/>
                  </a:cubicBezTo>
                  <a:cubicBezTo>
                    <a:pt x="72" y="80"/>
                    <a:pt x="98" y="77"/>
                    <a:pt x="123" y="77"/>
                  </a:cubicBezTo>
                  <a:cubicBezTo>
                    <a:pt x="126" y="77"/>
                    <a:pt x="129" y="77"/>
                    <a:pt x="131" y="77"/>
                  </a:cubicBezTo>
                  <a:cubicBezTo>
                    <a:pt x="131" y="57"/>
                    <a:pt x="121" y="47"/>
                    <a:pt x="103" y="41"/>
                  </a:cubicBezTo>
                  <a:cubicBezTo>
                    <a:pt x="77" y="39"/>
                    <a:pt x="54" y="47"/>
                    <a:pt x="31" y="57"/>
                  </a:cubicBezTo>
                  <a:cubicBezTo>
                    <a:pt x="26" y="44"/>
                    <a:pt x="23" y="31"/>
                    <a:pt x="18" y="18"/>
                  </a:cubicBezTo>
                  <a:cubicBezTo>
                    <a:pt x="31" y="13"/>
                    <a:pt x="41" y="8"/>
                    <a:pt x="54" y="6"/>
                  </a:cubicBezTo>
                  <a:cubicBezTo>
                    <a:pt x="75" y="3"/>
                    <a:pt x="95" y="0"/>
                    <a:pt x="116" y="0"/>
                  </a:cubicBezTo>
                  <a:cubicBezTo>
                    <a:pt x="159" y="3"/>
                    <a:pt x="188" y="31"/>
                    <a:pt x="190" y="75"/>
                  </a:cubicBezTo>
                  <a:cubicBezTo>
                    <a:pt x="193" y="98"/>
                    <a:pt x="190" y="118"/>
                    <a:pt x="193" y="141"/>
                  </a:cubicBezTo>
                  <a:cubicBezTo>
                    <a:pt x="193" y="167"/>
                    <a:pt x="193" y="193"/>
                    <a:pt x="193" y="221"/>
                  </a:cubicBezTo>
                  <a:close/>
                </a:path>
              </a:pathLst>
            </a:custGeom>
            <a:solidFill>
              <a:srgbClr val="FEFE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4" name="Freeform 54"/>
            <p:cNvSpPr>
              <a:spLocks/>
            </p:cNvSpPr>
            <p:nvPr/>
          </p:nvSpPr>
          <p:spPr bwMode="auto">
            <a:xfrm>
              <a:off x="475" y="3720"/>
              <a:ext cx="18" cy="49"/>
            </a:xfrm>
            <a:custGeom>
              <a:avLst/>
              <a:gdLst>
                <a:gd name="T0" fmla="*/ 0 w 107"/>
                <a:gd name="T1" fmla="*/ 0 h 292"/>
                <a:gd name="T2" fmla="*/ 59 w 107"/>
                <a:gd name="T3" fmla="*/ 0 h 292"/>
                <a:gd name="T4" fmla="*/ 59 w 107"/>
                <a:gd name="T5" fmla="*/ 66 h 292"/>
                <a:gd name="T6" fmla="*/ 107 w 107"/>
                <a:gd name="T7" fmla="*/ 66 h 292"/>
                <a:gd name="T8" fmla="*/ 107 w 107"/>
                <a:gd name="T9" fmla="*/ 123 h 292"/>
                <a:gd name="T10" fmla="*/ 59 w 107"/>
                <a:gd name="T11" fmla="*/ 123 h 292"/>
                <a:gd name="T12" fmla="*/ 59 w 107"/>
                <a:gd name="T13" fmla="*/ 218 h 292"/>
                <a:gd name="T14" fmla="*/ 87 w 107"/>
                <a:gd name="T15" fmla="*/ 241 h 292"/>
                <a:gd name="T16" fmla="*/ 107 w 107"/>
                <a:gd name="T17" fmla="*/ 238 h 292"/>
                <a:gd name="T18" fmla="*/ 107 w 107"/>
                <a:gd name="T19" fmla="*/ 279 h 292"/>
                <a:gd name="T20" fmla="*/ 102 w 107"/>
                <a:gd name="T21" fmla="*/ 287 h 292"/>
                <a:gd name="T22" fmla="*/ 41 w 107"/>
                <a:gd name="T23" fmla="*/ 287 h 292"/>
                <a:gd name="T24" fmla="*/ 2 w 107"/>
                <a:gd name="T25" fmla="*/ 233 h 292"/>
                <a:gd name="T26" fmla="*/ 0 w 107"/>
                <a:gd name="T27" fmla="*/ 202 h 292"/>
                <a:gd name="T28" fmla="*/ 0 w 107"/>
                <a:gd name="T29" fmla="*/ 13 h 292"/>
                <a:gd name="T30" fmla="*/ 0 w 107"/>
                <a:gd name="T31" fmla="*/ 0 h 2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07" h="292">
                  <a:moveTo>
                    <a:pt x="0" y="0"/>
                  </a:moveTo>
                  <a:cubicBezTo>
                    <a:pt x="20" y="0"/>
                    <a:pt x="38" y="0"/>
                    <a:pt x="59" y="0"/>
                  </a:cubicBezTo>
                  <a:cubicBezTo>
                    <a:pt x="59" y="20"/>
                    <a:pt x="59" y="43"/>
                    <a:pt x="59" y="66"/>
                  </a:cubicBezTo>
                  <a:cubicBezTo>
                    <a:pt x="74" y="66"/>
                    <a:pt x="92" y="66"/>
                    <a:pt x="107" y="66"/>
                  </a:cubicBezTo>
                  <a:cubicBezTo>
                    <a:pt x="107" y="84"/>
                    <a:pt x="107" y="102"/>
                    <a:pt x="107" y="123"/>
                  </a:cubicBezTo>
                  <a:cubicBezTo>
                    <a:pt x="92" y="123"/>
                    <a:pt x="77" y="123"/>
                    <a:pt x="59" y="123"/>
                  </a:cubicBezTo>
                  <a:cubicBezTo>
                    <a:pt x="59" y="154"/>
                    <a:pt x="59" y="187"/>
                    <a:pt x="59" y="218"/>
                  </a:cubicBezTo>
                  <a:cubicBezTo>
                    <a:pt x="61" y="236"/>
                    <a:pt x="72" y="241"/>
                    <a:pt x="87" y="241"/>
                  </a:cubicBezTo>
                  <a:cubicBezTo>
                    <a:pt x="95" y="241"/>
                    <a:pt x="100" y="241"/>
                    <a:pt x="107" y="238"/>
                  </a:cubicBezTo>
                  <a:cubicBezTo>
                    <a:pt x="107" y="254"/>
                    <a:pt x="107" y="266"/>
                    <a:pt x="107" y="279"/>
                  </a:cubicBezTo>
                  <a:cubicBezTo>
                    <a:pt x="107" y="282"/>
                    <a:pt x="105" y="284"/>
                    <a:pt x="102" y="287"/>
                  </a:cubicBezTo>
                  <a:cubicBezTo>
                    <a:pt x="82" y="292"/>
                    <a:pt x="61" y="292"/>
                    <a:pt x="41" y="287"/>
                  </a:cubicBezTo>
                  <a:cubicBezTo>
                    <a:pt x="15" y="279"/>
                    <a:pt x="5" y="259"/>
                    <a:pt x="2" y="233"/>
                  </a:cubicBezTo>
                  <a:cubicBezTo>
                    <a:pt x="0" y="223"/>
                    <a:pt x="0" y="213"/>
                    <a:pt x="0" y="202"/>
                  </a:cubicBezTo>
                  <a:cubicBezTo>
                    <a:pt x="0" y="138"/>
                    <a:pt x="0" y="74"/>
                    <a:pt x="0" y="13"/>
                  </a:cubicBezTo>
                  <a:cubicBezTo>
                    <a:pt x="0" y="7"/>
                    <a:pt x="0" y="5"/>
                    <a:pt x="0" y="0"/>
                  </a:cubicBezTo>
                  <a:close/>
                </a:path>
              </a:pathLst>
            </a:custGeom>
            <a:solidFill>
              <a:srgbClr val="FEFE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5" name="Freeform 55"/>
            <p:cNvSpPr>
              <a:spLocks/>
            </p:cNvSpPr>
            <p:nvPr/>
          </p:nvSpPr>
          <p:spPr bwMode="auto">
            <a:xfrm>
              <a:off x="451" y="3730"/>
              <a:ext cx="20" cy="37"/>
            </a:xfrm>
            <a:custGeom>
              <a:avLst/>
              <a:gdLst>
                <a:gd name="T0" fmla="*/ 51 w 126"/>
                <a:gd name="T1" fmla="*/ 11 h 223"/>
                <a:gd name="T2" fmla="*/ 51 w 126"/>
                <a:gd name="T3" fmla="*/ 49 h 223"/>
                <a:gd name="T4" fmla="*/ 126 w 126"/>
                <a:gd name="T5" fmla="*/ 5 h 223"/>
                <a:gd name="T6" fmla="*/ 126 w 126"/>
                <a:gd name="T7" fmla="*/ 62 h 223"/>
                <a:gd name="T8" fmla="*/ 108 w 126"/>
                <a:gd name="T9" fmla="*/ 62 h 223"/>
                <a:gd name="T10" fmla="*/ 62 w 126"/>
                <a:gd name="T11" fmla="*/ 105 h 223"/>
                <a:gd name="T12" fmla="*/ 59 w 126"/>
                <a:gd name="T13" fmla="*/ 213 h 223"/>
                <a:gd name="T14" fmla="*/ 59 w 126"/>
                <a:gd name="T15" fmla="*/ 223 h 223"/>
                <a:gd name="T16" fmla="*/ 0 w 126"/>
                <a:gd name="T17" fmla="*/ 223 h 223"/>
                <a:gd name="T18" fmla="*/ 0 w 126"/>
                <a:gd name="T19" fmla="*/ 11 h 223"/>
                <a:gd name="T20" fmla="*/ 51 w 126"/>
                <a:gd name="T21" fmla="*/ 11 h 2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26" h="223">
                  <a:moveTo>
                    <a:pt x="51" y="11"/>
                  </a:moveTo>
                  <a:cubicBezTo>
                    <a:pt x="51" y="23"/>
                    <a:pt x="51" y="34"/>
                    <a:pt x="51" y="49"/>
                  </a:cubicBezTo>
                  <a:cubicBezTo>
                    <a:pt x="69" y="16"/>
                    <a:pt x="90" y="0"/>
                    <a:pt x="126" y="5"/>
                  </a:cubicBezTo>
                  <a:cubicBezTo>
                    <a:pt x="126" y="23"/>
                    <a:pt x="126" y="41"/>
                    <a:pt x="126" y="62"/>
                  </a:cubicBezTo>
                  <a:cubicBezTo>
                    <a:pt x="121" y="62"/>
                    <a:pt x="113" y="62"/>
                    <a:pt x="108" y="62"/>
                  </a:cubicBezTo>
                  <a:cubicBezTo>
                    <a:pt x="80" y="62"/>
                    <a:pt x="62" y="77"/>
                    <a:pt x="62" y="105"/>
                  </a:cubicBezTo>
                  <a:cubicBezTo>
                    <a:pt x="59" y="141"/>
                    <a:pt x="59" y="177"/>
                    <a:pt x="59" y="213"/>
                  </a:cubicBezTo>
                  <a:cubicBezTo>
                    <a:pt x="59" y="216"/>
                    <a:pt x="59" y="221"/>
                    <a:pt x="59" y="223"/>
                  </a:cubicBezTo>
                  <a:cubicBezTo>
                    <a:pt x="39" y="223"/>
                    <a:pt x="21" y="223"/>
                    <a:pt x="0" y="223"/>
                  </a:cubicBezTo>
                  <a:cubicBezTo>
                    <a:pt x="0" y="154"/>
                    <a:pt x="0" y="82"/>
                    <a:pt x="0" y="11"/>
                  </a:cubicBezTo>
                  <a:cubicBezTo>
                    <a:pt x="18" y="11"/>
                    <a:pt x="33" y="11"/>
                    <a:pt x="51" y="11"/>
                  </a:cubicBezTo>
                  <a:close/>
                </a:path>
              </a:pathLst>
            </a:custGeom>
            <a:solidFill>
              <a:srgbClr val="FEFE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6" name="Freeform 56"/>
            <p:cNvSpPr>
              <a:spLocks/>
            </p:cNvSpPr>
            <p:nvPr/>
          </p:nvSpPr>
          <p:spPr bwMode="auto">
            <a:xfrm>
              <a:off x="340" y="3720"/>
              <a:ext cx="10" cy="47"/>
            </a:xfrm>
            <a:custGeom>
              <a:avLst/>
              <a:gdLst>
                <a:gd name="T0" fmla="*/ 56 w 56"/>
                <a:gd name="T1" fmla="*/ 0 h 284"/>
                <a:gd name="T2" fmla="*/ 56 w 56"/>
                <a:gd name="T3" fmla="*/ 284 h 284"/>
                <a:gd name="T4" fmla="*/ 0 w 56"/>
                <a:gd name="T5" fmla="*/ 284 h 284"/>
                <a:gd name="T6" fmla="*/ 0 w 56"/>
                <a:gd name="T7" fmla="*/ 0 h 284"/>
                <a:gd name="T8" fmla="*/ 56 w 56"/>
                <a:gd name="T9" fmla="*/ 0 h 2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6" h="284">
                  <a:moveTo>
                    <a:pt x="56" y="0"/>
                  </a:moveTo>
                  <a:cubicBezTo>
                    <a:pt x="56" y="95"/>
                    <a:pt x="56" y="189"/>
                    <a:pt x="56" y="284"/>
                  </a:cubicBezTo>
                  <a:cubicBezTo>
                    <a:pt x="39" y="284"/>
                    <a:pt x="18" y="284"/>
                    <a:pt x="0" y="284"/>
                  </a:cubicBezTo>
                  <a:cubicBezTo>
                    <a:pt x="0" y="189"/>
                    <a:pt x="0" y="95"/>
                    <a:pt x="0" y="0"/>
                  </a:cubicBezTo>
                  <a:cubicBezTo>
                    <a:pt x="18" y="0"/>
                    <a:pt x="36" y="0"/>
                    <a:pt x="56" y="0"/>
                  </a:cubicBezTo>
                  <a:close/>
                </a:path>
              </a:pathLst>
            </a:custGeom>
            <a:solidFill>
              <a:srgbClr val="FEFE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7" name="Freeform 57"/>
            <p:cNvSpPr>
              <a:spLocks/>
            </p:cNvSpPr>
            <p:nvPr/>
          </p:nvSpPr>
          <p:spPr bwMode="auto">
            <a:xfrm>
              <a:off x="508" y="3747"/>
              <a:ext cx="26" cy="21"/>
            </a:xfrm>
            <a:custGeom>
              <a:avLst/>
              <a:gdLst>
                <a:gd name="T0" fmla="*/ 159 w 159"/>
                <a:gd name="T1" fmla="*/ 33 h 125"/>
                <a:gd name="T2" fmla="*/ 151 w 159"/>
                <a:gd name="T3" fmla="*/ 46 h 125"/>
                <a:gd name="T4" fmla="*/ 48 w 159"/>
                <a:gd name="T5" fmla="*/ 118 h 125"/>
                <a:gd name="T6" fmla="*/ 46 w 159"/>
                <a:gd name="T7" fmla="*/ 120 h 125"/>
                <a:gd name="T8" fmla="*/ 7 w 159"/>
                <a:gd name="T9" fmla="*/ 100 h 125"/>
                <a:gd name="T10" fmla="*/ 15 w 159"/>
                <a:gd name="T11" fmla="*/ 59 h 125"/>
                <a:gd name="T12" fmla="*/ 123 w 159"/>
                <a:gd name="T13" fmla="*/ 10 h 125"/>
                <a:gd name="T14" fmla="*/ 159 w 159"/>
                <a:gd name="T15" fmla="*/ 33 h 1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59" h="125">
                  <a:moveTo>
                    <a:pt x="159" y="33"/>
                  </a:moveTo>
                  <a:cubicBezTo>
                    <a:pt x="156" y="38"/>
                    <a:pt x="154" y="43"/>
                    <a:pt x="151" y="46"/>
                  </a:cubicBezTo>
                  <a:cubicBezTo>
                    <a:pt x="118" y="72"/>
                    <a:pt x="84" y="95"/>
                    <a:pt x="48" y="118"/>
                  </a:cubicBezTo>
                  <a:cubicBezTo>
                    <a:pt x="46" y="120"/>
                    <a:pt x="46" y="120"/>
                    <a:pt x="46" y="120"/>
                  </a:cubicBezTo>
                  <a:cubicBezTo>
                    <a:pt x="33" y="125"/>
                    <a:pt x="18" y="118"/>
                    <a:pt x="7" y="100"/>
                  </a:cubicBezTo>
                  <a:cubicBezTo>
                    <a:pt x="0" y="82"/>
                    <a:pt x="2" y="66"/>
                    <a:pt x="15" y="59"/>
                  </a:cubicBezTo>
                  <a:cubicBezTo>
                    <a:pt x="51" y="43"/>
                    <a:pt x="87" y="25"/>
                    <a:pt x="123" y="10"/>
                  </a:cubicBezTo>
                  <a:cubicBezTo>
                    <a:pt x="141" y="0"/>
                    <a:pt x="159" y="13"/>
                    <a:pt x="159" y="33"/>
                  </a:cubicBezTo>
                  <a:close/>
                </a:path>
              </a:pathLst>
            </a:custGeom>
            <a:solidFill>
              <a:srgbClr val="FBB32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8" name="Freeform 58"/>
            <p:cNvSpPr>
              <a:spLocks/>
            </p:cNvSpPr>
            <p:nvPr/>
          </p:nvSpPr>
          <p:spPr bwMode="auto">
            <a:xfrm>
              <a:off x="555" y="3720"/>
              <a:ext cx="26" cy="20"/>
            </a:xfrm>
            <a:custGeom>
              <a:avLst/>
              <a:gdLst>
                <a:gd name="T0" fmla="*/ 156 w 156"/>
                <a:gd name="T1" fmla="*/ 41 h 121"/>
                <a:gd name="T2" fmla="*/ 143 w 156"/>
                <a:gd name="T3" fmla="*/ 64 h 121"/>
                <a:gd name="T4" fmla="*/ 36 w 156"/>
                <a:gd name="T5" fmla="*/ 116 h 121"/>
                <a:gd name="T6" fmla="*/ 5 w 156"/>
                <a:gd name="T7" fmla="*/ 105 h 121"/>
                <a:gd name="T8" fmla="*/ 13 w 156"/>
                <a:gd name="T9" fmla="*/ 75 h 121"/>
                <a:gd name="T10" fmla="*/ 108 w 156"/>
                <a:gd name="T11" fmla="*/ 8 h 121"/>
                <a:gd name="T12" fmla="*/ 141 w 156"/>
                <a:gd name="T13" fmla="*/ 10 h 121"/>
                <a:gd name="T14" fmla="*/ 156 w 156"/>
                <a:gd name="T15" fmla="*/ 41 h 1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56" h="121">
                  <a:moveTo>
                    <a:pt x="156" y="41"/>
                  </a:moveTo>
                  <a:cubicBezTo>
                    <a:pt x="156" y="54"/>
                    <a:pt x="154" y="59"/>
                    <a:pt x="143" y="64"/>
                  </a:cubicBezTo>
                  <a:cubicBezTo>
                    <a:pt x="108" y="82"/>
                    <a:pt x="72" y="98"/>
                    <a:pt x="36" y="116"/>
                  </a:cubicBezTo>
                  <a:cubicBezTo>
                    <a:pt x="23" y="121"/>
                    <a:pt x="13" y="118"/>
                    <a:pt x="5" y="105"/>
                  </a:cubicBezTo>
                  <a:cubicBezTo>
                    <a:pt x="0" y="93"/>
                    <a:pt x="0" y="82"/>
                    <a:pt x="13" y="75"/>
                  </a:cubicBezTo>
                  <a:cubicBezTo>
                    <a:pt x="43" y="51"/>
                    <a:pt x="74" y="31"/>
                    <a:pt x="108" y="8"/>
                  </a:cubicBezTo>
                  <a:cubicBezTo>
                    <a:pt x="120" y="0"/>
                    <a:pt x="131" y="0"/>
                    <a:pt x="141" y="10"/>
                  </a:cubicBezTo>
                  <a:cubicBezTo>
                    <a:pt x="151" y="18"/>
                    <a:pt x="156" y="28"/>
                    <a:pt x="156" y="41"/>
                  </a:cubicBezTo>
                  <a:close/>
                </a:path>
              </a:pathLst>
            </a:custGeom>
            <a:solidFill>
              <a:srgbClr val="FBB32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9" name="Freeform 59"/>
            <p:cNvSpPr>
              <a:spLocks/>
            </p:cNvSpPr>
            <p:nvPr/>
          </p:nvSpPr>
          <p:spPr bwMode="auto">
            <a:xfrm>
              <a:off x="539" y="3757"/>
              <a:ext cx="12" cy="28"/>
            </a:xfrm>
            <a:custGeom>
              <a:avLst/>
              <a:gdLst>
                <a:gd name="T0" fmla="*/ 0 w 70"/>
                <a:gd name="T1" fmla="*/ 136 h 169"/>
                <a:gd name="T2" fmla="*/ 11 w 70"/>
                <a:gd name="T3" fmla="*/ 18 h 169"/>
                <a:gd name="T4" fmla="*/ 34 w 70"/>
                <a:gd name="T5" fmla="*/ 0 h 169"/>
                <a:gd name="T6" fmla="*/ 57 w 70"/>
                <a:gd name="T7" fmla="*/ 18 h 169"/>
                <a:gd name="T8" fmla="*/ 67 w 70"/>
                <a:gd name="T9" fmla="*/ 123 h 169"/>
                <a:gd name="T10" fmla="*/ 67 w 70"/>
                <a:gd name="T11" fmla="*/ 133 h 169"/>
                <a:gd name="T12" fmla="*/ 52 w 70"/>
                <a:gd name="T13" fmla="*/ 164 h 169"/>
                <a:gd name="T14" fmla="*/ 3 w 70"/>
                <a:gd name="T15" fmla="*/ 154 h 169"/>
                <a:gd name="T16" fmla="*/ 0 w 70"/>
                <a:gd name="T17" fmla="*/ 136 h 169"/>
                <a:gd name="T18" fmla="*/ 0 w 70"/>
                <a:gd name="T19" fmla="*/ 136 h 1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0" h="169">
                  <a:moveTo>
                    <a:pt x="0" y="136"/>
                  </a:moveTo>
                  <a:cubicBezTo>
                    <a:pt x="6" y="97"/>
                    <a:pt x="8" y="56"/>
                    <a:pt x="11" y="18"/>
                  </a:cubicBezTo>
                  <a:cubicBezTo>
                    <a:pt x="13" y="5"/>
                    <a:pt x="21" y="0"/>
                    <a:pt x="34" y="0"/>
                  </a:cubicBezTo>
                  <a:cubicBezTo>
                    <a:pt x="49" y="0"/>
                    <a:pt x="57" y="5"/>
                    <a:pt x="57" y="18"/>
                  </a:cubicBezTo>
                  <a:cubicBezTo>
                    <a:pt x="62" y="54"/>
                    <a:pt x="65" y="87"/>
                    <a:pt x="67" y="123"/>
                  </a:cubicBezTo>
                  <a:cubicBezTo>
                    <a:pt x="67" y="125"/>
                    <a:pt x="67" y="128"/>
                    <a:pt x="67" y="133"/>
                  </a:cubicBezTo>
                  <a:cubicBezTo>
                    <a:pt x="70" y="151"/>
                    <a:pt x="65" y="159"/>
                    <a:pt x="52" y="164"/>
                  </a:cubicBezTo>
                  <a:cubicBezTo>
                    <a:pt x="34" y="169"/>
                    <a:pt x="11" y="166"/>
                    <a:pt x="3" y="154"/>
                  </a:cubicBezTo>
                  <a:cubicBezTo>
                    <a:pt x="0" y="148"/>
                    <a:pt x="0" y="143"/>
                    <a:pt x="0" y="136"/>
                  </a:cubicBezTo>
                  <a:cubicBezTo>
                    <a:pt x="0" y="136"/>
                    <a:pt x="0" y="136"/>
                    <a:pt x="0" y="136"/>
                  </a:cubicBezTo>
                  <a:close/>
                </a:path>
              </a:pathLst>
            </a:custGeom>
            <a:solidFill>
              <a:srgbClr val="FBB32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0" name="Freeform 60"/>
            <p:cNvSpPr>
              <a:spLocks/>
            </p:cNvSpPr>
            <p:nvPr/>
          </p:nvSpPr>
          <p:spPr bwMode="auto">
            <a:xfrm>
              <a:off x="555" y="3748"/>
              <a:ext cx="26" cy="20"/>
            </a:xfrm>
            <a:custGeom>
              <a:avLst/>
              <a:gdLst>
                <a:gd name="T0" fmla="*/ 156 w 156"/>
                <a:gd name="T1" fmla="*/ 82 h 121"/>
                <a:gd name="T2" fmla="*/ 138 w 156"/>
                <a:gd name="T3" fmla="*/ 113 h 121"/>
                <a:gd name="T4" fmla="*/ 108 w 156"/>
                <a:gd name="T5" fmla="*/ 113 h 121"/>
                <a:gd name="T6" fmla="*/ 13 w 156"/>
                <a:gd name="T7" fmla="*/ 47 h 121"/>
                <a:gd name="T8" fmla="*/ 8 w 156"/>
                <a:gd name="T9" fmla="*/ 16 h 121"/>
                <a:gd name="T10" fmla="*/ 36 w 156"/>
                <a:gd name="T11" fmla="*/ 6 h 121"/>
                <a:gd name="T12" fmla="*/ 143 w 156"/>
                <a:gd name="T13" fmla="*/ 57 h 121"/>
                <a:gd name="T14" fmla="*/ 156 w 156"/>
                <a:gd name="T15" fmla="*/ 82 h 1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56" h="121">
                  <a:moveTo>
                    <a:pt x="156" y="82"/>
                  </a:moveTo>
                  <a:cubicBezTo>
                    <a:pt x="156" y="93"/>
                    <a:pt x="151" y="106"/>
                    <a:pt x="138" y="113"/>
                  </a:cubicBezTo>
                  <a:cubicBezTo>
                    <a:pt x="128" y="121"/>
                    <a:pt x="120" y="121"/>
                    <a:pt x="108" y="113"/>
                  </a:cubicBezTo>
                  <a:cubicBezTo>
                    <a:pt x="77" y="93"/>
                    <a:pt x="43" y="70"/>
                    <a:pt x="13" y="47"/>
                  </a:cubicBezTo>
                  <a:cubicBezTo>
                    <a:pt x="0" y="39"/>
                    <a:pt x="0" y="29"/>
                    <a:pt x="8" y="16"/>
                  </a:cubicBezTo>
                  <a:cubicBezTo>
                    <a:pt x="13" y="3"/>
                    <a:pt x="23" y="0"/>
                    <a:pt x="36" y="6"/>
                  </a:cubicBezTo>
                  <a:cubicBezTo>
                    <a:pt x="72" y="23"/>
                    <a:pt x="108" y="39"/>
                    <a:pt x="143" y="57"/>
                  </a:cubicBezTo>
                  <a:cubicBezTo>
                    <a:pt x="154" y="62"/>
                    <a:pt x="156" y="70"/>
                    <a:pt x="156" y="82"/>
                  </a:cubicBezTo>
                  <a:close/>
                </a:path>
              </a:pathLst>
            </a:custGeom>
            <a:solidFill>
              <a:srgbClr val="FBB32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1" name="Freeform 61"/>
            <p:cNvSpPr>
              <a:spLocks/>
            </p:cNvSpPr>
            <p:nvPr/>
          </p:nvSpPr>
          <p:spPr bwMode="auto">
            <a:xfrm>
              <a:off x="539" y="3703"/>
              <a:ext cx="12" cy="27"/>
            </a:xfrm>
            <a:custGeom>
              <a:avLst/>
              <a:gdLst>
                <a:gd name="T0" fmla="*/ 34 w 70"/>
                <a:gd name="T1" fmla="*/ 0 h 166"/>
                <a:gd name="T2" fmla="*/ 57 w 70"/>
                <a:gd name="T3" fmla="*/ 5 h 166"/>
                <a:gd name="T4" fmla="*/ 70 w 70"/>
                <a:gd name="T5" fmla="*/ 25 h 166"/>
                <a:gd name="T6" fmla="*/ 57 w 70"/>
                <a:gd name="T7" fmla="*/ 148 h 166"/>
                <a:gd name="T8" fmla="*/ 34 w 70"/>
                <a:gd name="T9" fmla="*/ 166 h 166"/>
                <a:gd name="T10" fmla="*/ 11 w 70"/>
                <a:gd name="T11" fmla="*/ 146 h 166"/>
                <a:gd name="T12" fmla="*/ 0 w 70"/>
                <a:gd name="T13" fmla="*/ 36 h 166"/>
                <a:gd name="T14" fmla="*/ 34 w 70"/>
                <a:gd name="T15" fmla="*/ 0 h 1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0" h="166">
                  <a:moveTo>
                    <a:pt x="34" y="0"/>
                  </a:moveTo>
                  <a:cubicBezTo>
                    <a:pt x="41" y="0"/>
                    <a:pt x="49" y="2"/>
                    <a:pt x="57" y="5"/>
                  </a:cubicBezTo>
                  <a:cubicBezTo>
                    <a:pt x="65" y="10"/>
                    <a:pt x="70" y="18"/>
                    <a:pt x="70" y="25"/>
                  </a:cubicBezTo>
                  <a:cubicBezTo>
                    <a:pt x="65" y="66"/>
                    <a:pt x="62" y="107"/>
                    <a:pt x="57" y="148"/>
                  </a:cubicBezTo>
                  <a:cubicBezTo>
                    <a:pt x="57" y="161"/>
                    <a:pt x="49" y="166"/>
                    <a:pt x="34" y="166"/>
                  </a:cubicBezTo>
                  <a:cubicBezTo>
                    <a:pt x="18" y="166"/>
                    <a:pt x="13" y="161"/>
                    <a:pt x="11" y="146"/>
                  </a:cubicBezTo>
                  <a:cubicBezTo>
                    <a:pt x="8" y="110"/>
                    <a:pt x="6" y="71"/>
                    <a:pt x="0" y="36"/>
                  </a:cubicBezTo>
                  <a:cubicBezTo>
                    <a:pt x="0" y="10"/>
                    <a:pt x="11" y="0"/>
                    <a:pt x="34" y="0"/>
                  </a:cubicBezTo>
                  <a:close/>
                </a:path>
              </a:pathLst>
            </a:custGeom>
            <a:solidFill>
              <a:srgbClr val="FBB32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2" name="Freeform 62"/>
            <p:cNvSpPr>
              <a:spLocks/>
            </p:cNvSpPr>
            <p:nvPr/>
          </p:nvSpPr>
          <p:spPr bwMode="auto">
            <a:xfrm>
              <a:off x="508" y="3720"/>
              <a:ext cx="27" cy="20"/>
            </a:xfrm>
            <a:custGeom>
              <a:avLst/>
              <a:gdLst>
                <a:gd name="T0" fmla="*/ 159 w 159"/>
                <a:gd name="T1" fmla="*/ 90 h 123"/>
                <a:gd name="T2" fmla="*/ 121 w 159"/>
                <a:gd name="T3" fmla="*/ 113 h 123"/>
                <a:gd name="T4" fmla="*/ 18 w 159"/>
                <a:gd name="T5" fmla="*/ 67 h 123"/>
                <a:gd name="T6" fmla="*/ 3 w 159"/>
                <a:gd name="T7" fmla="*/ 36 h 123"/>
                <a:gd name="T8" fmla="*/ 21 w 159"/>
                <a:gd name="T9" fmla="*/ 8 h 123"/>
                <a:gd name="T10" fmla="*/ 49 w 159"/>
                <a:gd name="T11" fmla="*/ 8 h 123"/>
                <a:gd name="T12" fmla="*/ 146 w 159"/>
                <a:gd name="T13" fmla="*/ 75 h 123"/>
                <a:gd name="T14" fmla="*/ 159 w 159"/>
                <a:gd name="T15" fmla="*/ 90 h 1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59" h="123">
                  <a:moveTo>
                    <a:pt x="159" y="90"/>
                  </a:moveTo>
                  <a:cubicBezTo>
                    <a:pt x="157" y="110"/>
                    <a:pt x="139" y="123"/>
                    <a:pt x="121" y="113"/>
                  </a:cubicBezTo>
                  <a:cubicBezTo>
                    <a:pt x="87" y="98"/>
                    <a:pt x="52" y="82"/>
                    <a:pt x="18" y="67"/>
                  </a:cubicBezTo>
                  <a:cubicBezTo>
                    <a:pt x="3" y="59"/>
                    <a:pt x="0" y="51"/>
                    <a:pt x="3" y="36"/>
                  </a:cubicBezTo>
                  <a:cubicBezTo>
                    <a:pt x="3" y="23"/>
                    <a:pt x="11" y="16"/>
                    <a:pt x="21" y="8"/>
                  </a:cubicBezTo>
                  <a:cubicBezTo>
                    <a:pt x="31" y="0"/>
                    <a:pt x="39" y="0"/>
                    <a:pt x="49" y="8"/>
                  </a:cubicBezTo>
                  <a:cubicBezTo>
                    <a:pt x="82" y="31"/>
                    <a:pt x="113" y="51"/>
                    <a:pt x="146" y="75"/>
                  </a:cubicBezTo>
                  <a:cubicBezTo>
                    <a:pt x="152" y="77"/>
                    <a:pt x="154" y="85"/>
                    <a:pt x="159" y="90"/>
                  </a:cubicBezTo>
                  <a:close/>
                </a:path>
              </a:pathLst>
            </a:custGeom>
            <a:solidFill>
              <a:srgbClr val="FBB32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3" name="Freeform 63"/>
            <p:cNvSpPr>
              <a:spLocks/>
            </p:cNvSpPr>
            <p:nvPr/>
          </p:nvSpPr>
          <p:spPr bwMode="auto">
            <a:xfrm>
              <a:off x="312" y="3750"/>
              <a:ext cx="12" cy="13"/>
            </a:xfrm>
            <a:custGeom>
              <a:avLst/>
              <a:gdLst>
                <a:gd name="T0" fmla="*/ 74 w 77"/>
                <a:gd name="T1" fmla="*/ 0 h 74"/>
                <a:gd name="T2" fmla="*/ 74 w 77"/>
                <a:gd name="T3" fmla="*/ 33 h 74"/>
                <a:gd name="T4" fmla="*/ 20 w 77"/>
                <a:gd name="T5" fmla="*/ 61 h 74"/>
                <a:gd name="T6" fmla="*/ 15 w 77"/>
                <a:gd name="T7" fmla="*/ 18 h 74"/>
                <a:gd name="T8" fmla="*/ 41 w 77"/>
                <a:gd name="T9" fmla="*/ 2 h 74"/>
                <a:gd name="T10" fmla="*/ 74 w 77"/>
                <a:gd name="T11" fmla="*/ 0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7" h="74">
                  <a:moveTo>
                    <a:pt x="74" y="0"/>
                  </a:moveTo>
                  <a:cubicBezTo>
                    <a:pt x="74" y="13"/>
                    <a:pt x="77" y="23"/>
                    <a:pt x="74" y="33"/>
                  </a:cubicBezTo>
                  <a:cubicBezTo>
                    <a:pt x="72" y="56"/>
                    <a:pt x="41" y="74"/>
                    <a:pt x="20" y="61"/>
                  </a:cubicBezTo>
                  <a:cubicBezTo>
                    <a:pt x="5" y="54"/>
                    <a:pt x="0" y="28"/>
                    <a:pt x="15" y="18"/>
                  </a:cubicBezTo>
                  <a:cubicBezTo>
                    <a:pt x="23" y="10"/>
                    <a:pt x="33" y="5"/>
                    <a:pt x="41" y="2"/>
                  </a:cubicBezTo>
                  <a:cubicBezTo>
                    <a:pt x="51" y="0"/>
                    <a:pt x="64" y="0"/>
                    <a:pt x="74" y="0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4" name="Freeform 64"/>
            <p:cNvSpPr>
              <a:spLocks/>
            </p:cNvSpPr>
            <p:nvPr/>
          </p:nvSpPr>
          <p:spPr bwMode="auto">
            <a:xfrm>
              <a:off x="423" y="3750"/>
              <a:ext cx="12" cy="12"/>
            </a:xfrm>
            <a:custGeom>
              <a:avLst/>
              <a:gdLst>
                <a:gd name="T0" fmla="*/ 72 w 72"/>
                <a:gd name="T1" fmla="*/ 0 h 69"/>
                <a:gd name="T2" fmla="*/ 69 w 72"/>
                <a:gd name="T3" fmla="*/ 33 h 69"/>
                <a:gd name="T4" fmla="*/ 23 w 72"/>
                <a:gd name="T5" fmla="*/ 64 h 69"/>
                <a:gd name="T6" fmla="*/ 2 w 72"/>
                <a:gd name="T7" fmla="*/ 46 h 69"/>
                <a:gd name="T8" fmla="*/ 13 w 72"/>
                <a:gd name="T9" fmla="*/ 15 h 69"/>
                <a:gd name="T10" fmla="*/ 36 w 72"/>
                <a:gd name="T11" fmla="*/ 5 h 69"/>
                <a:gd name="T12" fmla="*/ 72 w 72"/>
                <a:gd name="T13" fmla="*/ 0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2" h="69">
                  <a:moveTo>
                    <a:pt x="72" y="0"/>
                  </a:moveTo>
                  <a:cubicBezTo>
                    <a:pt x="72" y="13"/>
                    <a:pt x="72" y="23"/>
                    <a:pt x="69" y="33"/>
                  </a:cubicBezTo>
                  <a:cubicBezTo>
                    <a:pt x="67" y="56"/>
                    <a:pt x="44" y="69"/>
                    <a:pt x="23" y="64"/>
                  </a:cubicBezTo>
                  <a:cubicBezTo>
                    <a:pt x="13" y="61"/>
                    <a:pt x="5" y="56"/>
                    <a:pt x="2" y="46"/>
                  </a:cubicBezTo>
                  <a:cubicBezTo>
                    <a:pt x="0" y="33"/>
                    <a:pt x="2" y="23"/>
                    <a:pt x="13" y="15"/>
                  </a:cubicBezTo>
                  <a:cubicBezTo>
                    <a:pt x="20" y="10"/>
                    <a:pt x="28" y="5"/>
                    <a:pt x="36" y="5"/>
                  </a:cubicBezTo>
                  <a:cubicBezTo>
                    <a:pt x="46" y="0"/>
                    <a:pt x="59" y="0"/>
                    <a:pt x="72" y="0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5" name="Freeform 65"/>
            <p:cNvSpPr>
              <a:spLocks noEditPoints="1"/>
            </p:cNvSpPr>
            <p:nvPr/>
          </p:nvSpPr>
          <p:spPr bwMode="auto">
            <a:xfrm>
              <a:off x="584" y="3764"/>
              <a:ext cx="6" cy="5"/>
            </a:xfrm>
            <a:custGeom>
              <a:avLst/>
              <a:gdLst>
                <a:gd name="T0" fmla="*/ 36 w 36"/>
                <a:gd name="T1" fmla="*/ 16 h 34"/>
                <a:gd name="T2" fmla="*/ 18 w 36"/>
                <a:gd name="T3" fmla="*/ 34 h 34"/>
                <a:gd name="T4" fmla="*/ 0 w 36"/>
                <a:gd name="T5" fmla="*/ 16 h 34"/>
                <a:gd name="T6" fmla="*/ 18 w 36"/>
                <a:gd name="T7" fmla="*/ 0 h 34"/>
                <a:gd name="T8" fmla="*/ 36 w 36"/>
                <a:gd name="T9" fmla="*/ 16 h 34"/>
                <a:gd name="T10" fmla="*/ 5 w 36"/>
                <a:gd name="T11" fmla="*/ 16 h 34"/>
                <a:gd name="T12" fmla="*/ 18 w 36"/>
                <a:gd name="T13" fmla="*/ 31 h 34"/>
                <a:gd name="T14" fmla="*/ 31 w 36"/>
                <a:gd name="T15" fmla="*/ 16 h 34"/>
                <a:gd name="T16" fmla="*/ 18 w 36"/>
                <a:gd name="T17" fmla="*/ 3 h 34"/>
                <a:gd name="T18" fmla="*/ 5 w 36"/>
                <a:gd name="T19" fmla="*/ 16 h 34"/>
                <a:gd name="T20" fmla="*/ 16 w 36"/>
                <a:gd name="T21" fmla="*/ 26 h 34"/>
                <a:gd name="T22" fmla="*/ 10 w 36"/>
                <a:gd name="T23" fmla="*/ 26 h 34"/>
                <a:gd name="T24" fmla="*/ 10 w 36"/>
                <a:gd name="T25" fmla="*/ 8 h 34"/>
                <a:gd name="T26" fmla="*/ 18 w 36"/>
                <a:gd name="T27" fmla="*/ 8 h 34"/>
                <a:gd name="T28" fmla="*/ 23 w 36"/>
                <a:gd name="T29" fmla="*/ 11 h 34"/>
                <a:gd name="T30" fmla="*/ 26 w 36"/>
                <a:gd name="T31" fmla="*/ 13 h 34"/>
                <a:gd name="T32" fmla="*/ 21 w 36"/>
                <a:gd name="T33" fmla="*/ 16 h 34"/>
                <a:gd name="T34" fmla="*/ 21 w 36"/>
                <a:gd name="T35" fmla="*/ 18 h 34"/>
                <a:gd name="T36" fmla="*/ 26 w 36"/>
                <a:gd name="T37" fmla="*/ 21 h 34"/>
                <a:gd name="T38" fmla="*/ 26 w 36"/>
                <a:gd name="T39" fmla="*/ 26 h 34"/>
                <a:gd name="T40" fmla="*/ 21 w 36"/>
                <a:gd name="T41" fmla="*/ 26 h 34"/>
                <a:gd name="T42" fmla="*/ 21 w 36"/>
                <a:gd name="T43" fmla="*/ 21 h 34"/>
                <a:gd name="T44" fmla="*/ 18 w 36"/>
                <a:gd name="T45" fmla="*/ 18 h 34"/>
                <a:gd name="T46" fmla="*/ 16 w 36"/>
                <a:gd name="T47" fmla="*/ 18 h 34"/>
                <a:gd name="T48" fmla="*/ 16 w 36"/>
                <a:gd name="T49" fmla="*/ 26 h 34"/>
                <a:gd name="T50" fmla="*/ 16 w 36"/>
                <a:gd name="T51" fmla="*/ 16 h 34"/>
                <a:gd name="T52" fmla="*/ 18 w 36"/>
                <a:gd name="T53" fmla="*/ 16 h 34"/>
                <a:gd name="T54" fmla="*/ 21 w 36"/>
                <a:gd name="T55" fmla="*/ 13 h 34"/>
                <a:gd name="T56" fmla="*/ 18 w 36"/>
                <a:gd name="T57" fmla="*/ 11 h 34"/>
                <a:gd name="T58" fmla="*/ 16 w 36"/>
                <a:gd name="T59" fmla="*/ 11 h 34"/>
                <a:gd name="T60" fmla="*/ 16 w 36"/>
                <a:gd name="T61" fmla="*/ 16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36" h="34">
                  <a:moveTo>
                    <a:pt x="36" y="16"/>
                  </a:moveTo>
                  <a:cubicBezTo>
                    <a:pt x="36" y="26"/>
                    <a:pt x="28" y="34"/>
                    <a:pt x="18" y="34"/>
                  </a:cubicBezTo>
                  <a:cubicBezTo>
                    <a:pt x="8" y="34"/>
                    <a:pt x="0" y="26"/>
                    <a:pt x="0" y="16"/>
                  </a:cubicBezTo>
                  <a:cubicBezTo>
                    <a:pt x="0" y="8"/>
                    <a:pt x="8" y="0"/>
                    <a:pt x="18" y="0"/>
                  </a:cubicBezTo>
                  <a:cubicBezTo>
                    <a:pt x="28" y="0"/>
                    <a:pt x="36" y="8"/>
                    <a:pt x="36" y="16"/>
                  </a:cubicBezTo>
                  <a:close/>
                  <a:moveTo>
                    <a:pt x="5" y="16"/>
                  </a:moveTo>
                  <a:cubicBezTo>
                    <a:pt x="5" y="23"/>
                    <a:pt x="10" y="31"/>
                    <a:pt x="18" y="31"/>
                  </a:cubicBezTo>
                  <a:cubicBezTo>
                    <a:pt x="26" y="31"/>
                    <a:pt x="31" y="23"/>
                    <a:pt x="31" y="16"/>
                  </a:cubicBezTo>
                  <a:cubicBezTo>
                    <a:pt x="31" y="11"/>
                    <a:pt x="26" y="3"/>
                    <a:pt x="18" y="3"/>
                  </a:cubicBezTo>
                  <a:cubicBezTo>
                    <a:pt x="10" y="3"/>
                    <a:pt x="5" y="11"/>
                    <a:pt x="5" y="16"/>
                  </a:cubicBezTo>
                  <a:close/>
                  <a:moveTo>
                    <a:pt x="16" y="26"/>
                  </a:moveTo>
                  <a:cubicBezTo>
                    <a:pt x="10" y="26"/>
                    <a:pt x="10" y="26"/>
                    <a:pt x="10" y="26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3" y="8"/>
                    <a:pt x="16" y="8"/>
                    <a:pt x="18" y="8"/>
                  </a:cubicBezTo>
                  <a:cubicBezTo>
                    <a:pt x="21" y="8"/>
                    <a:pt x="23" y="8"/>
                    <a:pt x="23" y="11"/>
                  </a:cubicBezTo>
                  <a:cubicBezTo>
                    <a:pt x="23" y="11"/>
                    <a:pt x="26" y="11"/>
                    <a:pt x="26" y="13"/>
                  </a:cubicBezTo>
                  <a:cubicBezTo>
                    <a:pt x="26" y="16"/>
                    <a:pt x="23" y="16"/>
                    <a:pt x="21" y="16"/>
                  </a:cubicBezTo>
                  <a:cubicBezTo>
                    <a:pt x="21" y="18"/>
                    <a:pt x="21" y="18"/>
                    <a:pt x="21" y="18"/>
                  </a:cubicBezTo>
                  <a:cubicBezTo>
                    <a:pt x="23" y="18"/>
                    <a:pt x="23" y="18"/>
                    <a:pt x="26" y="21"/>
                  </a:cubicBezTo>
                  <a:cubicBezTo>
                    <a:pt x="26" y="23"/>
                    <a:pt x="26" y="23"/>
                    <a:pt x="26" y="26"/>
                  </a:cubicBezTo>
                  <a:cubicBezTo>
                    <a:pt x="21" y="26"/>
                    <a:pt x="21" y="26"/>
                    <a:pt x="21" y="26"/>
                  </a:cubicBezTo>
                  <a:cubicBezTo>
                    <a:pt x="21" y="23"/>
                    <a:pt x="21" y="23"/>
                    <a:pt x="21" y="21"/>
                  </a:cubicBezTo>
                  <a:cubicBezTo>
                    <a:pt x="21" y="18"/>
                    <a:pt x="18" y="18"/>
                    <a:pt x="18" y="18"/>
                  </a:cubicBezTo>
                  <a:cubicBezTo>
                    <a:pt x="16" y="18"/>
                    <a:pt x="16" y="18"/>
                    <a:pt x="16" y="18"/>
                  </a:cubicBezTo>
                  <a:lnTo>
                    <a:pt x="16" y="26"/>
                  </a:lnTo>
                  <a:close/>
                  <a:moveTo>
                    <a:pt x="16" y="16"/>
                  </a:moveTo>
                  <a:cubicBezTo>
                    <a:pt x="18" y="16"/>
                    <a:pt x="18" y="16"/>
                    <a:pt x="18" y="16"/>
                  </a:cubicBezTo>
                  <a:cubicBezTo>
                    <a:pt x="18" y="16"/>
                    <a:pt x="21" y="16"/>
                    <a:pt x="21" y="13"/>
                  </a:cubicBezTo>
                  <a:cubicBezTo>
                    <a:pt x="21" y="13"/>
                    <a:pt x="21" y="11"/>
                    <a:pt x="18" y="11"/>
                  </a:cubicBezTo>
                  <a:cubicBezTo>
                    <a:pt x="16" y="11"/>
                    <a:pt x="16" y="11"/>
                    <a:pt x="16" y="11"/>
                  </a:cubicBezTo>
                  <a:lnTo>
                    <a:pt x="16" y="16"/>
                  </a:lnTo>
                  <a:close/>
                </a:path>
              </a:pathLst>
            </a:custGeom>
            <a:solidFill>
              <a:srgbClr val="FBB32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4" name="Date Placeholder 3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27C1CE45-12BE-44EB-87B1-C80F14748F59}" type="datetimeFigureOut">
              <a:rPr lang="en-US" smtClean="0"/>
              <a:t>9/6/2017</a:t>
            </a:fld>
            <a:endParaRPr lang="en-US"/>
          </a:p>
        </p:txBody>
      </p:sp>
      <p:sp>
        <p:nvSpPr>
          <p:cNvPr id="72" name="Footer Placeholder 71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0493" y="1279122"/>
            <a:ext cx="4448445" cy="2130607"/>
          </a:xfrm>
        </p:spPr>
        <p:txBody>
          <a:bodyPr anchor="b">
            <a:normAutofit/>
          </a:bodyPr>
          <a:lstStyle>
            <a:lvl1pPr algn="l"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30494" y="3438916"/>
            <a:ext cx="4448444" cy="1125140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800">
                <a:solidFill>
                  <a:schemeClr val="bg1"/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262C4268-07C4-419F-A184-60B7139F40B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2392914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Speaker &amp; Title">
    <p:bg>
      <p:bgPr>
        <a:solidFill>
          <a:srgbClr val="007DC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/>
          <p:cNvSpPr>
            <a:spLocks noGrp="1"/>
          </p:cNvSpPr>
          <p:nvPr>
            <p:ph type="ctrTitle" hasCustomPrompt="1"/>
          </p:nvPr>
        </p:nvSpPr>
        <p:spPr>
          <a:xfrm>
            <a:off x="-1" y="924702"/>
            <a:ext cx="8723011" cy="1747423"/>
          </a:xfrm>
          <a:prstGeom prst="rect">
            <a:avLst/>
          </a:prstGeom>
        </p:spPr>
        <p:txBody>
          <a:bodyPr lIns="68547" tIns="34289" rIns="68547" bIns="34289" anchor="b"/>
          <a:lstStyle>
            <a:lvl1pPr algn="ctr">
              <a:defRPr sz="6000" b="1">
                <a:solidFill>
                  <a:srgbClr val="F8F8F8"/>
                </a:solidFill>
              </a:defRPr>
            </a:lvl1pPr>
          </a:lstStyle>
          <a:p>
            <a:r>
              <a:rPr lang="en-US" dirty="0"/>
              <a:t>Jane Doe</a:t>
            </a:r>
          </a:p>
        </p:txBody>
      </p:sp>
      <p:sp>
        <p:nvSpPr>
          <p:cNvPr id="9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340578" y="2650082"/>
            <a:ext cx="5982067" cy="914400"/>
          </a:xfrm>
          <a:prstGeom prst="rect">
            <a:avLst/>
          </a:prstGeom>
        </p:spPr>
        <p:txBody>
          <a:bodyPr lIns="68547" tIns="34289" rIns="68547" bIns="34289">
            <a:noAutofit/>
          </a:bodyPr>
          <a:lstStyle>
            <a:lvl1pPr marL="0" indent="0" algn="ctr">
              <a:buNone/>
              <a:defRPr sz="3000" b="1" cap="none" baseline="0">
                <a:solidFill>
                  <a:srgbClr val="FFC220"/>
                </a:solidFill>
              </a:defRPr>
            </a:lvl1pPr>
            <a:lvl2pPr marL="3427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4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1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08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357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62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3989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16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Tit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7C1CE45-12BE-44EB-87B1-C80F14748F59}" type="datetimeFigureOut">
              <a:rPr lang="en-US" smtClean="0"/>
              <a:t>9/6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1397970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Placeholder 7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62C4268-07C4-419F-A184-60B7139F40B3}" type="slidenum">
              <a:rPr lang="en-US" smtClean="0"/>
              <a:t>‹#›</a:t>
            </a:fld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3"/>
          </p:nvPr>
        </p:nvSpPr>
        <p:spPr>
          <a:xfrm>
            <a:off x="432029" y="818740"/>
            <a:ext cx="3480197" cy="4043543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10" name="Content Placeholder 3"/>
          <p:cNvSpPr>
            <a:spLocks noGrp="1"/>
          </p:cNvSpPr>
          <p:nvPr>
            <p:ph sz="quarter" idx="14"/>
          </p:nvPr>
        </p:nvSpPr>
        <p:spPr>
          <a:xfrm>
            <a:off x="4045141" y="818740"/>
            <a:ext cx="3480197" cy="4043543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27C1CE45-12BE-44EB-87B1-C80F14748F59}" type="datetimeFigureOut">
              <a:rPr lang="en-US" smtClean="0"/>
              <a:t>9/6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1536509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32030" y="843196"/>
            <a:ext cx="3479929" cy="617934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40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32030" y="1461130"/>
            <a:ext cx="3479929" cy="340115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114801" y="843196"/>
            <a:ext cx="3410538" cy="617934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40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114801" y="1461130"/>
            <a:ext cx="3410538" cy="340115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62C4268-07C4-419F-A184-60B7139F40B3}" type="slidenum">
              <a:rPr lang="en-US" smtClean="0"/>
              <a:t>‹#›</a:t>
            </a:fld>
            <a:endParaRPr lang="en-US"/>
          </a:p>
        </p:txBody>
      </p:sp>
      <p:sp>
        <p:nvSpPr>
          <p:cNvPr id="12" name="Title 1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27C1CE45-12BE-44EB-87B1-C80F14748F59}" type="datetimeFigureOut">
              <a:rPr lang="en-US" smtClean="0"/>
              <a:t>9/6/2017</a:t>
            </a:fld>
            <a:endParaRPr lang="en-US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1760067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-Two Content Stack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Placeholder 7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62C4268-07C4-419F-A184-60B7139F40B3}" type="slidenum">
              <a:rPr lang="en-US" smtClean="0"/>
              <a:t>‹#›</a:t>
            </a:fld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13" name="Content Placeholder 12"/>
          <p:cNvSpPr>
            <a:spLocks noGrp="1"/>
          </p:cNvSpPr>
          <p:nvPr>
            <p:ph sz="quarter" idx="13"/>
          </p:nvPr>
        </p:nvSpPr>
        <p:spPr>
          <a:xfrm>
            <a:off x="432030" y="843196"/>
            <a:ext cx="7092721" cy="1914134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15" name="Content Placeholder 14"/>
          <p:cNvSpPr>
            <a:spLocks noGrp="1"/>
          </p:cNvSpPr>
          <p:nvPr>
            <p:ph sz="quarter" idx="14"/>
          </p:nvPr>
        </p:nvSpPr>
        <p:spPr>
          <a:xfrm>
            <a:off x="432198" y="2904995"/>
            <a:ext cx="7092553" cy="1914134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27C1CE45-12BE-44EB-87B1-C80F14748F59}" type="datetimeFigureOut">
              <a:rPr lang="en-US" smtClean="0"/>
              <a:t>9/6/2017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4686851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" name="Rectangle 70"/>
          <p:cNvSpPr/>
          <p:nvPr/>
        </p:nvSpPr>
        <p:spPr>
          <a:xfrm rot="10800000" flipH="1">
            <a:off x="8605005" y="0"/>
            <a:ext cx="547301" cy="514350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endParaRPr lang="en-US" dirty="0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32030" y="80159"/>
            <a:ext cx="7093309" cy="643326"/>
          </a:xfrm>
          <a:prstGeom prst="rect">
            <a:avLst/>
          </a:prstGeom>
        </p:spPr>
        <p:txBody>
          <a:bodyPr vert="horz" lIns="68580" tIns="34290" rIns="68580" bIns="3429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706499" y="4862283"/>
            <a:ext cx="437501" cy="273844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ctr">
              <a:defRPr sz="900">
                <a:solidFill>
                  <a:schemeClr val="accent6">
                    <a:lumMod val="40000"/>
                    <a:lumOff val="60000"/>
                  </a:schemeClr>
                </a:solidFill>
              </a:defRPr>
            </a:lvl1pPr>
          </a:lstStyle>
          <a:p>
            <a:fld id="{262C4268-07C4-419F-A184-60B7139F40B3}" type="slidenum">
              <a:rPr lang="en-US" smtClean="0"/>
              <a:t>‹#›</a:t>
            </a:fld>
            <a:endParaRPr lang="en-US"/>
          </a:p>
        </p:txBody>
      </p:sp>
      <p:grpSp>
        <p:nvGrpSpPr>
          <p:cNvPr id="100" name="Group 4"/>
          <p:cNvGrpSpPr>
            <a:grpSpLocks noChangeAspect="1"/>
          </p:cNvGrpSpPr>
          <p:nvPr/>
        </p:nvGrpSpPr>
        <p:grpSpPr bwMode="auto">
          <a:xfrm>
            <a:off x="8030291" y="4059678"/>
            <a:ext cx="1006076" cy="948632"/>
            <a:chOff x="117" y="3646"/>
            <a:chExt cx="613" cy="578"/>
          </a:xfrm>
        </p:grpSpPr>
        <p:sp>
          <p:nvSpPr>
            <p:cNvPr id="101" name="AutoShape 3"/>
            <p:cNvSpPr>
              <a:spLocks noChangeAspect="1" noChangeArrowheads="1" noTextEdit="1"/>
            </p:cNvSpPr>
            <p:nvPr/>
          </p:nvSpPr>
          <p:spPr bwMode="auto">
            <a:xfrm>
              <a:off x="117" y="3646"/>
              <a:ext cx="613" cy="5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2" name="Freeform 5"/>
            <p:cNvSpPr>
              <a:spLocks/>
            </p:cNvSpPr>
            <p:nvPr/>
          </p:nvSpPr>
          <p:spPr bwMode="auto">
            <a:xfrm>
              <a:off x="125" y="3654"/>
              <a:ext cx="597" cy="562"/>
            </a:xfrm>
            <a:custGeom>
              <a:avLst/>
              <a:gdLst>
                <a:gd name="T0" fmla="*/ 1572 w 3628"/>
                <a:gd name="T1" fmla="*/ 3344 h 3371"/>
                <a:gd name="T2" fmla="*/ 1411 w 3628"/>
                <a:gd name="T3" fmla="*/ 3284 h 3371"/>
                <a:gd name="T4" fmla="*/ 1402 w 3628"/>
                <a:gd name="T5" fmla="*/ 3281 h 3371"/>
                <a:gd name="T6" fmla="*/ 904 w 3628"/>
                <a:gd name="T7" fmla="*/ 3064 h 3371"/>
                <a:gd name="T8" fmla="*/ 500 w 3628"/>
                <a:gd name="T9" fmla="*/ 2789 h 3371"/>
                <a:gd name="T10" fmla="*/ 347 w 3628"/>
                <a:gd name="T11" fmla="*/ 2452 h 3371"/>
                <a:gd name="T12" fmla="*/ 323 w 3628"/>
                <a:gd name="T13" fmla="*/ 2223 h 3371"/>
                <a:gd name="T14" fmla="*/ 313 w 3628"/>
                <a:gd name="T15" fmla="*/ 2061 h 3371"/>
                <a:gd name="T16" fmla="*/ 0 w 3628"/>
                <a:gd name="T17" fmla="*/ 1872 h 3371"/>
                <a:gd name="T18" fmla="*/ 186 w 3628"/>
                <a:gd name="T19" fmla="*/ 1056 h 3371"/>
                <a:gd name="T20" fmla="*/ 241 w 3628"/>
                <a:gd name="T21" fmla="*/ 1046 h 3371"/>
                <a:gd name="T22" fmla="*/ 234 w 3628"/>
                <a:gd name="T23" fmla="*/ 940 h 3371"/>
                <a:gd name="T24" fmla="*/ 218 w 3628"/>
                <a:gd name="T25" fmla="*/ 716 h 3371"/>
                <a:gd name="T26" fmla="*/ 214 w 3628"/>
                <a:gd name="T27" fmla="*/ 670 h 3371"/>
                <a:gd name="T28" fmla="*/ 213 w 3628"/>
                <a:gd name="T29" fmla="*/ 665 h 3371"/>
                <a:gd name="T30" fmla="*/ 205 w 3628"/>
                <a:gd name="T31" fmla="*/ 516 h 3371"/>
                <a:gd name="T32" fmla="*/ 341 w 3628"/>
                <a:gd name="T33" fmla="*/ 166 h 3371"/>
                <a:gd name="T34" fmla="*/ 679 w 3628"/>
                <a:gd name="T35" fmla="*/ 2 h 3371"/>
                <a:gd name="T36" fmla="*/ 698 w 3628"/>
                <a:gd name="T37" fmla="*/ 1 h 3371"/>
                <a:gd name="T38" fmla="*/ 2914 w 3628"/>
                <a:gd name="T39" fmla="*/ 0 h 3371"/>
                <a:gd name="T40" fmla="*/ 3259 w 3628"/>
                <a:gd name="T41" fmla="*/ 132 h 3371"/>
                <a:gd name="T42" fmla="*/ 3425 w 3628"/>
                <a:gd name="T43" fmla="*/ 467 h 3371"/>
                <a:gd name="T44" fmla="*/ 3423 w 3628"/>
                <a:gd name="T45" fmla="*/ 597 h 3371"/>
                <a:gd name="T46" fmla="*/ 3423 w 3628"/>
                <a:gd name="T47" fmla="*/ 618 h 3371"/>
                <a:gd name="T48" fmla="*/ 3410 w 3628"/>
                <a:gd name="T49" fmla="*/ 772 h 3371"/>
                <a:gd name="T50" fmla="*/ 3392 w 3628"/>
                <a:gd name="T51" fmla="*/ 1036 h 3371"/>
                <a:gd name="T52" fmla="*/ 3442 w 3628"/>
                <a:gd name="T53" fmla="*/ 1056 h 3371"/>
                <a:gd name="T54" fmla="*/ 3628 w 3628"/>
                <a:gd name="T55" fmla="*/ 1872 h 3371"/>
                <a:gd name="T56" fmla="*/ 3318 w 3628"/>
                <a:gd name="T57" fmla="*/ 2061 h 3371"/>
                <a:gd name="T58" fmla="*/ 3310 w 3628"/>
                <a:gd name="T59" fmla="*/ 2180 h 3371"/>
                <a:gd name="T60" fmla="*/ 3307 w 3628"/>
                <a:gd name="T61" fmla="*/ 2210 h 3371"/>
                <a:gd name="T62" fmla="*/ 3169 w 3628"/>
                <a:gd name="T63" fmla="*/ 2739 h 3371"/>
                <a:gd name="T64" fmla="*/ 2908 w 3628"/>
                <a:gd name="T65" fmla="*/ 2981 h 3371"/>
                <a:gd name="T66" fmla="*/ 2788 w 3628"/>
                <a:gd name="T67" fmla="*/ 3038 h 3371"/>
                <a:gd name="T68" fmla="*/ 2785 w 3628"/>
                <a:gd name="T69" fmla="*/ 3039 h 3371"/>
                <a:gd name="T70" fmla="*/ 2756 w 3628"/>
                <a:gd name="T71" fmla="*/ 3050 h 3371"/>
                <a:gd name="T72" fmla="*/ 2753 w 3628"/>
                <a:gd name="T73" fmla="*/ 3052 h 3371"/>
                <a:gd name="T74" fmla="*/ 2182 w 3628"/>
                <a:gd name="T75" fmla="*/ 3303 h 3371"/>
                <a:gd name="T76" fmla="*/ 1930 w 3628"/>
                <a:gd name="T77" fmla="*/ 3365 h 33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3628" h="3371">
                  <a:moveTo>
                    <a:pt x="1817" y="3371"/>
                  </a:moveTo>
                  <a:cubicBezTo>
                    <a:pt x="1729" y="3371"/>
                    <a:pt x="1646" y="3362"/>
                    <a:pt x="1572" y="3344"/>
                  </a:cubicBezTo>
                  <a:cubicBezTo>
                    <a:pt x="1571" y="3344"/>
                    <a:pt x="1571" y="3344"/>
                    <a:pt x="1571" y="3344"/>
                  </a:cubicBezTo>
                  <a:cubicBezTo>
                    <a:pt x="1510" y="3328"/>
                    <a:pt x="1458" y="3304"/>
                    <a:pt x="1411" y="3284"/>
                  </a:cubicBezTo>
                  <a:cubicBezTo>
                    <a:pt x="1410" y="3283"/>
                    <a:pt x="1410" y="3283"/>
                    <a:pt x="1410" y="3283"/>
                  </a:cubicBezTo>
                  <a:cubicBezTo>
                    <a:pt x="1402" y="3281"/>
                    <a:pt x="1402" y="3281"/>
                    <a:pt x="1402" y="3281"/>
                  </a:cubicBezTo>
                  <a:cubicBezTo>
                    <a:pt x="1401" y="3280"/>
                    <a:pt x="1401" y="3280"/>
                    <a:pt x="1401" y="3280"/>
                  </a:cubicBezTo>
                  <a:cubicBezTo>
                    <a:pt x="1219" y="3202"/>
                    <a:pt x="1059" y="3132"/>
                    <a:pt x="904" y="3064"/>
                  </a:cubicBezTo>
                  <a:cubicBezTo>
                    <a:pt x="861" y="3045"/>
                    <a:pt x="819" y="3026"/>
                    <a:pt x="777" y="3008"/>
                  </a:cubicBezTo>
                  <a:cubicBezTo>
                    <a:pt x="673" y="2961"/>
                    <a:pt x="580" y="2888"/>
                    <a:pt x="500" y="2789"/>
                  </a:cubicBezTo>
                  <a:cubicBezTo>
                    <a:pt x="500" y="2788"/>
                    <a:pt x="500" y="2788"/>
                    <a:pt x="500" y="2788"/>
                  </a:cubicBezTo>
                  <a:cubicBezTo>
                    <a:pt x="416" y="2681"/>
                    <a:pt x="366" y="2571"/>
                    <a:pt x="347" y="2452"/>
                  </a:cubicBezTo>
                  <a:cubicBezTo>
                    <a:pt x="342" y="2422"/>
                    <a:pt x="339" y="2395"/>
                    <a:pt x="336" y="2369"/>
                  </a:cubicBezTo>
                  <a:cubicBezTo>
                    <a:pt x="323" y="2223"/>
                    <a:pt x="323" y="2223"/>
                    <a:pt x="323" y="2223"/>
                  </a:cubicBezTo>
                  <a:cubicBezTo>
                    <a:pt x="323" y="2221"/>
                    <a:pt x="323" y="2221"/>
                    <a:pt x="323" y="2221"/>
                  </a:cubicBezTo>
                  <a:cubicBezTo>
                    <a:pt x="323" y="2218"/>
                    <a:pt x="322" y="2198"/>
                    <a:pt x="313" y="2061"/>
                  </a:cubicBezTo>
                  <a:cubicBezTo>
                    <a:pt x="186" y="2061"/>
                    <a:pt x="186" y="2061"/>
                    <a:pt x="186" y="2061"/>
                  </a:cubicBezTo>
                  <a:cubicBezTo>
                    <a:pt x="84" y="2061"/>
                    <a:pt x="0" y="1976"/>
                    <a:pt x="0" y="1872"/>
                  </a:cubicBezTo>
                  <a:cubicBezTo>
                    <a:pt x="0" y="1242"/>
                    <a:pt x="0" y="1242"/>
                    <a:pt x="0" y="1242"/>
                  </a:cubicBezTo>
                  <a:cubicBezTo>
                    <a:pt x="0" y="1139"/>
                    <a:pt x="84" y="1056"/>
                    <a:pt x="186" y="1056"/>
                  </a:cubicBezTo>
                  <a:cubicBezTo>
                    <a:pt x="242" y="1056"/>
                    <a:pt x="242" y="1056"/>
                    <a:pt x="242" y="1056"/>
                  </a:cubicBezTo>
                  <a:cubicBezTo>
                    <a:pt x="242" y="1055"/>
                    <a:pt x="242" y="1048"/>
                    <a:pt x="241" y="1046"/>
                  </a:cubicBezTo>
                  <a:cubicBezTo>
                    <a:pt x="240" y="1045"/>
                    <a:pt x="240" y="1045"/>
                    <a:pt x="240" y="1045"/>
                  </a:cubicBezTo>
                  <a:cubicBezTo>
                    <a:pt x="234" y="940"/>
                    <a:pt x="234" y="940"/>
                    <a:pt x="234" y="940"/>
                  </a:cubicBezTo>
                  <a:cubicBezTo>
                    <a:pt x="231" y="903"/>
                    <a:pt x="229" y="865"/>
                    <a:pt x="226" y="827"/>
                  </a:cubicBezTo>
                  <a:cubicBezTo>
                    <a:pt x="223" y="790"/>
                    <a:pt x="221" y="753"/>
                    <a:pt x="218" y="716"/>
                  </a:cubicBezTo>
                  <a:cubicBezTo>
                    <a:pt x="217" y="708"/>
                    <a:pt x="216" y="699"/>
                    <a:pt x="216" y="690"/>
                  </a:cubicBezTo>
                  <a:cubicBezTo>
                    <a:pt x="215" y="683"/>
                    <a:pt x="215" y="676"/>
                    <a:pt x="214" y="670"/>
                  </a:cubicBezTo>
                  <a:cubicBezTo>
                    <a:pt x="213" y="668"/>
                    <a:pt x="213" y="668"/>
                    <a:pt x="213" y="668"/>
                  </a:cubicBezTo>
                  <a:cubicBezTo>
                    <a:pt x="213" y="665"/>
                    <a:pt x="213" y="665"/>
                    <a:pt x="213" y="665"/>
                  </a:cubicBezTo>
                  <a:cubicBezTo>
                    <a:pt x="212" y="649"/>
                    <a:pt x="211" y="633"/>
                    <a:pt x="210" y="618"/>
                  </a:cubicBezTo>
                  <a:cubicBezTo>
                    <a:pt x="208" y="585"/>
                    <a:pt x="205" y="552"/>
                    <a:pt x="205" y="516"/>
                  </a:cubicBezTo>
                  <a:cubicBezTo>
                    <a:pt x="205" y="386"/>
                    <a:pt x="253" y="262"/>
                    <a:pt x="341" y="166"/>
                  </a:cubicBezTo>
                  <a:cubicBezTo>
                    <a:pt x="341" y="166"/>
                    <a:pt x="341" y="166"/>
                    <a:pt x="341" y="166"/>
                  </a:cubicBezTo>
                  <a:cubicBezTo>
                    <a:pt x="430" y="72"/>
                    <a:pt x="549" y="13"/>
                    <a:pt x="677" y="2"/>
                  </a:cubicBezTo>
                  <a:cubicBezTo>
                    <a:pt x="679" y="2"/>
                    <a:pt x="679" y="2"/>
                    <a:pt x="679" y="2"/>
                  </a:cubicBezTo>
                  <a:cubicBezTo>
                    <a:pt x="681" y="2"/>
                    <a:pt x="681" y="2"/>
                    <a:pt x="681" y="2"/>
                  </a:cubicBezTo>
                  <a:cubicBezTo>
                    <a:pt x="687" y="2"/>
                    <a:pt x="692" y="2"/>
                    <a:pt x="698" y="1"/>
                  </a:cubicBezTo>
                  <a:cubicBezTo>
                    <a:pt x="706" y="0"/>
                    <a:pt x="715" y="0"/>
                    <a:pt x="725" y="0"/>
                  </a:cubicBezTo>
                  <a:cubicBezTo>
                    <a:pt x="2914" y="0"/>
                    <a:pt x="2914" y="0"/>
                    <a:pt x="2914" y="0"/>
                  </a:cubicBezTo>
                  <a:cubicBezTo>
                    <a:pt x="3039" y="0"/>
                    <a:pt x="3161" y="47"/>
                    <a:pt x="3258" y="132"/>
                  </a:cubicBezTo>
                  <a:cubicBezTo>
                    <a:pt x="3259" y="132"/>
                    <a:pt x="3259" y="132"/>
                    <a:pt x="3259" y="132"/>
                  </a:cubicBezTo>
                  <a:cubicBezTo>
                    <a:pt x="3355" y="220"/>
                    <a:pt x="3414" y="339"/>
                    <a:pt x="3425" y="466"/>
                  </a:cubicBezTo>
                  <a:cubicBezTo>
                    <a:pt x="3425" y="467"/>
                    <a:pt x="3425" y="467"/>
                    <a:pt x="3425" y="467"/>
                  </a:cubicBezTo>
                  <a:cubicBezTo>
                    <a:pt x="3425" y="467"/>
                    <a:pt x="3425" y="467"/>
                    <a:pt x="3425" y="467"/>
                  </a:cubicBezTo>
                  <a:cubicBezTo>
                    <a:pt x="3428" y="517"/>
                    <a:pt x="3425" y="561"/>
                    <a:pt x="3423" y="597"/>
                  </a:cubicBezTo>
                  <a:cubicBezTo>
                    <a:pt x="3423" y="616"/>
                    <a:pt x="3423" y="616"/>
                    <a:pt x="3423" y="616"/>
                  </a:cubicBezTo>
                  <a:cubicBezTo>
                    <a:pt x="3423" y="618"/>
                    <a:pt x="3423" y="618"/>
                    <a:pt x="3423" y="618"/>
                  </a:cubicBezTo>
                  <a:cubicBezTo>
                    <a:pt x="3420" y="644"/>
                    <a:pt x="3418" y="669"/>
                    <a:pt x="3416" y="693"/>
                  </a:cubicBezTo>
                  <a:cubicBezTo>
                    <a:pt x="3415" y="719"/>
                    <a:pt x="3413" y="746"/>
                    <a:pt x="3410" y="772"/>
                  </a:cubicBezTo>
                  <a:cubicBezTo>
                    <a:pt x="3410" y="797"/>
                    <a:pt x="3407" y="820"/>
                    <a:pt x="3405" y="842"/>
                  </a:cubicBezTo>
                  <a:cubicBezTo>
                    <a:pt x="3404" y="864"/>
                    <a:pt x="3400" y="922"/>
                    <a:pt x="3392" y="1036"/>
                  </a:cubicBezTo>
                  <a:cubicBezTo>
                    <a:pt x="3390" y="1056"/>
                    <a:pt x="3390" y="1056"/>
                    <a:pt x="3390" y="1056"/>
                  </a:cubicBezTo>
                  <a:cubicBezTo>
                    <a:pt x="3442" y="1056"/>
                    <a:pt x="3442" y="1056"/>
                    <a:pt x="3442" y="1056"/>
                  </a:cubicBezTo>
                  <a:cubicBezTo>
                    <a:pt x="3544" y="1056"/>
                    <a:pt x="3628" y="1139"/>
                    <a:pt x="3628" y="1242"/>
                  </a:cubicBezTo>
                  <a:cubicBezTo>
                    <a:pt x="3628" y="1872"/>
                    <a:pt x="3628" y="1872"/>
                    <a:pt x="3628" y="1872"/>
                  </a:cubicBezTo>
                  <a:cubicBezTo>
                    <a:pt x="3628" y="1976"/>
                    <a:pt x="3544" y="2061"/>
                    <a:pt x="3442" y="2061"/>
                  </a:cubicBezTo>
                  <a:cubicBezTo>
                    <a:pt x="3318" y="2061"/>
                    <a:pt x="3318" y="2061"/>
                    <a:pt x="3318" y="2061"/>
                  </a:cubicBezTo>
                  <a:cubicBezTo>
                    <a:pt x="3317" y="2075"/>
                    <a:pt x="3317" y="2090"/>
                    <a:pt x="3315" y="2106"/>
                  </a:cubicBezTo>
                  <a:cubicBezTo>
                    <a:pt x="3312" y="2130"/>
                    <a:pt x="3310" y="2156"/>
                    <a:pt x="3310" y="2180"/>
                  </a:cubicBezTo>
                  <a:cubicBezTo>
                    <a:pt x="3310" y="2182"/>
                    <a:pt x="3310" y="2182"/>
                    <a:pt x="3310" y="2182"/>
                  </a:cubicBezTo>
                  <a:cubicBezTo>
                    <a:pt x="3307" y="2210"/>
                    <a:pt x="3307" y="2210"/>
                    <a:pt x="3307" y="2210"/>
                  </a:cubicBezTo>
                  <a:cubicBezTo>
                    <a:pt x="3303" y="2258"/>
                    <a:pt x="3299" y="2304"/>
                    <a:pt x="3297" y="2348"/>
                  </a:cubicBezTo>
                  <a:cubicBezTo>
                    <a:pt x="3294" y="2481"/>
                    <a:pt x="3250" y="2616"/>
                    <a:pt x="3169" y="2739"/>
                  </a:cubicBezTo>
                  <a:cubicBezTo>
                    <a:pt x="3168" y="2740"/>
                    <a:pt x="3168" y="2740"/>
                    <a:pt x="3168" y="2740"/>
                  </a:cubicBezTo>
                  <a:cubicBezTo>
                    <a:pt x="3096" y="2846"/>
                    <a:pt x="3003" y="2931"/>
                    <a:pt x="2908" y="2981"/>
                  </a:cubicBezTo>
                  <a:cubicBezTo>
                    <a:pt x="2877" y="2998"/>
                    <a:pt x="2848" y="3011"/>
                    <a:pt x="2820" y="3024"/>
                  </a:cubicBezTo>
                  <a:cubicBezTo>
                    <a:pt x="2809" y="3029"/>
                    <a:pt x="2798" y="3033"/>
                    <a:pt x="2788" y="3038"/>
                  </a:cubicBezTo>
                  <a:cubicBezTo>
                    <a:pt x="2787" y="3039"/>
                    <a:pt x="2787" y="3039"/>
                    <a:pt x="2787" y="3039"/>
                  </a:cubicBezTo>
                  <a:cubicBezTo>
                    <a:pt x="2785" y="3039"/>
                    <a:pt x="2785" y="3039"/>
                    <a:pt x="2785" y="3039"/>
                  </a:cubicBezTo>
                  <a:cubicBezTo>
                    <a:pt x="2779" y="3042"/>
                    <a:pt x="2774" y="3044"/>
                    <a:pt x="2769" y="3045"/>
                  </a:cubicBezTo>
                  <a:cubicBezTo>
                    <a:pt x="2764" y="3047"/>
                    <a:pt x="2759" y="3049"/>
                    <a:pt x="2756" y="3050"/>
                  </a:cubicBezTo>
                  <a:cubicBezTo>
                    <a:pt x="2755" y="3051"/>
                    <a:pt x="2755" y="3051"/>
                    <a:pt x="2755" y="3051"/>
                  </a:cubicBezTo>
                  <a:cubicBezTo>
                    <a:pt x="2753" y="3052"/>
                    <a:pt x="2753" y="3052"/>
                    <a:pt x="2753" y="3052"/>
                  </a:cubicBezTo>
                  <a:cubicBezTo>
                    <a:pt x="2619" y="3110"/>
                    <a:pt x="2486" y="3169"/>
                    <a:pt x="2357" y="3226"/>
                  </a:cubicBezTo>
                  <a:cubicBezTo>
                    <a:pt x="2296" y="3253"/>
                    <a:pt x="2237" y="3278"/>
                    <a:pt x="2182" y="3303"/>
                  </a:cubicBezTo>
                  <a:cubicBezTo>
                    <a:pt x="2181" y="3303"/>
                    <a:pt x="2181" y="3303"/>
                    <a:pt x="2181" y="3303"/>
                  </a:cubicBezTo>
                  <a:cubicBezTo>
                    <a:pt x="2101" y="3337"/>
                    <a:pt x="2019" y="3358"/>
                    <a:pt x="1930" y="3365"/>
                  </a:cubicBezTo>
                  <a:cubicBezTo>
                    <a:pt x="1891" y="3371"/>
                    <a:pt x="1851" y="3371"/>
                    <a:pt x="1817" y="337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3" name="Freeform 6"/>
            <p:cNvSpPr>
              <a:spLocks noEditPoints="1"/>
            </p:cNvSpPr>
            <p:nvPr/>
          </p:nvSpPr>
          <p:spPr bwMode="auto">
            <a:xfrm>
              <a:off x="117" y="3646"/>
              <a:ext cx="613" cy="578"/>
            </a:xfrm>
            <a:custGeom>
              <a:avLst/>
              <a:gdLst>
                <a:gd name="T0" fmla="*/ 3425 w 3722"/>
                <a:gd name="T1" fmla="*/ 518 h 3466"/>
                <a:gd name="T2" fmla="*/ 3409 w 3722"/>
                <a:gd name="T3" fmla="*/ 818 h 3466"/>
                <a:gd name="T4" fmla="*/ 3489 w 3722"/>
                <a:gd name="T5" fmla="*/ 1151 h 3466"/>
                <a:gd name="T6" fmla="*/ 3489 w 3722"/>
                <a:gd name="T7" fmla="*/ 2061 h 3466"/>
                <a:gd name="T8" fmla="*/ 3315 w 3722"/>
                <a:gd name="T9" fmla="*/ 2148 h 3466"/>
                <a:gd name="T10" fmla="*/ 3176 w 3722"/>
                <a:gd name="T11" fmla="*/ 2761 h 3466"/>
                <a:gd name="T12" fmla="*/ 2781 w 3722"/>
                <a:gd name="T13" fmla="*/ 3056 h 3466"/>
                <a:gd name="T14" fmla="*/ 1864 w 3722"/>
                <a:gd name="T15" fmla="*/ 3371 h 3466"/>
                <a:gd name="T16" fmla="*/ 1466 w 3722"/>
                <a:gd name="T17" fmla="*/ 3284 h 3466"/>
                <a:gd name="T18" fmla="*/ 441 w 3722"/>
                <a:gd name="T19" fmla="*/ 2492 h 3466"/>
                <a:gd name="T20" fmla="*/ 405 w 3722"/>
                <a:gd name="T21" fmla="*/ 2061 h 3466"/>
                <a:gd name="T22" fmla="*/ 95 w 3722"/>
                <a:gd name="T23" fmla="*/ 1290 h 3466"/>
                <a:gd name="T24" fmla="*/ 333 w 3722"/>
                <a:gd name="T25" fmla="*/ 1072 h 3466"/>
                <a:gd name="T26" fmla="*/ 308 w 3722"/>
                <a:gd name="T27" fmla="*/ 710 h 3466"/>
                <a:gd name="T28" fmla="*/ 728 w 3722"/>
                <a:gd name="T29" fmla="*/ 98 h 3466"/>
                <a:gd name="T30" fmla="*/ 2961 w 3722"/>
                <a:gd name="T31" fmla="*/ 95 h 3466"/>
                <a:gd name="T32" fmla="*/ 772 w 3722"/>
                <a:gd name="T33" fmla="*/ 0 h 3466"/>
                <a:gd name="T34" fmla="*/ 724 w 3722"/>
                <a:gd name="T35" fmla="*/ 3 h 3466"/>
                <a:gd name="T36" fmla="*/ 353 w 3722"/>
                <a:gd name="T37" fmla="*/ 182 h 3466"/>
                <a:gd name="T38" fmla="*/ 210 w 3722"/>
                <a:gd name="T39" fmla="*/ 669 h 3466"/>
                <a:gd name="T40" fmla="*/ 214 w 3722"/>
                <a:gd name="T41" fmla="*/ 726 h 3466"/>
                <a:gd name="T42" fmla="*/ 226 w 3722"/>
                <a:gd name="T43" fmla="*/ 879 h 3466"/>
                <a:gd name="T44" fmla="*/ 233 w 3722"/>
                <a:gd name="T45" fmla="*/ 1056 h 3466"/>
                <a:gd name="T46" fmla="*/ 0 w 3722"/>
                <a:gd name="T47" fmla="*/ 1920 h 3466"/>
                <a:gd name="T48" fmla="*/ 323 w 3722"/>
                <a:gd name="T49" fmla="*/ 2270 h 3466"/>
                <a:gd name="T50" fmla="*/ 336 w 3722"/>
                <a:gd name="T51" fmla="*/ 2421 h 3466"/>
                <a:gd name="T52" fmla="*/ 347 w 3722"/>
                <a:gd name="T53" fmla="*/ 2508 h 3466"/>
                <a:gd name="T54" fmla="*/ 510 w 3722"/>
                <a:gd name="T55" fmla="*/ 2867 h 3466"/>
                <a:gd name="T56" fmla="*/ 805 w 3722"/>
                <a:gd name="T57" fmla="*/ 3099 h 3466"/>
                <a:gd name="T58" fmla="*/ 1432 w 3722"/>
                <a:gd name="T59" fmla="*/ 3373 h 3466"/>
                <a:gd name="T60" fmla="*/ 1606 w 3722"/>
                <a:gd name="T61" fmla="*/ 3438 h 3466"/>
                <a:gd name="T62" fmla="*/ 1864 w 3722"/>
                <a:gd name="T63" fmla="*/ 3466 h 3466"/>
                <a:gd name="T64" fmla="*/ 2248 w 3722"/>
                <a:gd name="T65" fmla="*/ 3394 h 3466"/>
                <a:gd name="T66" fmla="*/ 2819 w 3722"/>
                <a:gd name="T67" fmla="*/ 3143 h 3466"/>
                <a:gd name="T68" fmla="*/ 2832 w 3722"/>
                <a:gd name="T69" fmla="*/ 3138 h 3466"/>
                <a:gd name="T70" fmla="*/ 2855 w 3722"/>
                <a:gd name="T71" fmla="*/ 3129 h 3466"/>
                <a:gd name="T72" fmla="*/ 3255 w 3722"/>
                <a:gd name="T73" fmla="*/ 2815 h 3466"/>
                <a:gd name="T74" fmla="*/ 3392 w 3722"/>
                <a:gd name="T75" fmla="*/ 2398 h 3466"/>
                <a:gd name="T76" fmla="*/ 3405 w 3722"/>
                <a:gd name="T77" fmla="*/ 2232 h 3466"/>
                <a:gd name="T78" fmla="*/ 3409 w 3722"/>
                <a:gd name="T79" fmla="*/ 2156 h 3466"/>
                <a:gd name="T80" fmla="*/ 3722 w 3722"/>
                <a:gd name="T81" fmla="*/ 1290 h 3466"/>
                <a:gd name="T82" fmla="*/ 3489 w 3722"/>
                <a:gd name="T83" fmla="*/ 1056 h 3466"/>
                <a:gd name="T84" fmla="*/ 3511 w 3722"/>
                <a:gd name="T85" fmla="*/ 745 h 3466"/>
                <a:gd name="T86" fmla="*/ 3517 w 3722"/>
                <a:gd name="T87" fmla="*/ 662 h 3466"/>
                <a:gd name="T88" fmla="*/ 3520 w 3722"/>
                <a:gd name="T89" fmla="*/ 511 h 3466"/>
                <a:gd name="T90" fmla="*/ 3337 w 3722"/>
                <a:gd name="T91" fmla="*/ 145 h 34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722" h="3466">
                  <a:moveTo>
                    <a:pt x="2961" y="95"/>
                  </a:moveTo>
                  <a:cubicBezTo>
                    <a:pt x="3076" y="95"/>
                    <a:pt x="3186" y="139"/>
                    <a:pt x="3274" y="216"/>
                  </a:cubicBezTo>
                  <a:cubicBezTo>
                    <a:pt x="3361" y="295"/>
                    <a:pt x="3415" y="403"/>
                    <a:pt x="3425" y="518"/>
                  </a:cubicBezTo>
                  <a:cubicBezTo>
                    <a:pt x="3427" y="564"/>
                    <a:pt x="3425" y="605"/>
                    <a:pt x="3422" y="644"/>
                  </a:cubicBezTo>
                  <a:cubicBezTo>
                    <a:pt x="3422" y="649"/>
                    <a:pt x="3422" y="657"/>
                    <a:pt x="3422" y="662"/>
                  </a:cubicBezTo>
                  <a:cubicBezTo>
                    <a:pt x="3417" y="716"/>
                    <a:pt x="3415" y="767"/>
                    <a:pt x="3409" y="818"/>
                  </a:cubicBezTo>
                  <a:cubicBezTo>
                    <a:pt x="3409" y="841"/>
                    <a:pt x="3407" y="864"/>
                    <a:pt x="3404" y="887"/>
                  </a:cubicBezTo>
                  <a:cubicBezTo>
                    <a:pt x="3404" y="910"/>
                    <a:pt x="3397" y="1010"/>
                    <a:pt x="3386" y="1151"/>
                  </a:cubicBezTo>
                  <a:cubicBezTo>
                    <a:pt x="3386" y="1151"/>
                    <a:pt x="3386" y="1151"/>
                    <a:pt x="3489" y="1151"/>
                  </a:cubicBezTo>
                  <a:cubicBezTo>
                    <a:pt x="3566" y="1151"/>
                    <a:pt x="3627" y="1213"/>
                    <a:pt x="3627" y="1290"/>
                  </a:cubicBezTo>
                  <a:cubicBezTo>
                    <a:pt x="3627" y="1290"/>
                    <a:pt x="3627" y="1290"/>
                    <a:pt x="3627" y="1920"/>
                  </a:cubicBezTo>
                  <a:cubicBezTo>
                    <a:pt x="3627" y="1997"/>
                    <a:pt x="3566" y="2061"/>
                    <a:pt x="3489" y="2061"/>
                  </a:cubicBezTo>
                  <a:cubicBezTo>
                    <a:pt x="3489" y="2061"/>
                    <a:pt x="3489" y="2061"/>
                    <a:pt x="3320" y="2061"/>
                  </a:cubicBezTo>
                  <a:cubicBezTo>
                    <a:pt x="3320" y="2061"/>
                    <a:pt x="3320" y="2061"/>
                    <a:pt x="3317" y="2095"/>
                  </a:cubicBezTo>
                  <a:cubicBezTo>
                    <a:pt x="3317" y="2113"/>
                    <a:pt x="3317" y="2131"/>
                    <a:pt x="3315" y="2148"/>
                  </a:cubicBezTo>
                  <a:cubicBezTo>
                    <a:pt x="3312" y="2174"/>
                    <a:pt x="3309" y="2202"/>
                    <a:pt x="3309" y="2228"/>
                  </a:cubicBezTo>
                  <a:cubicBezTo>
                    <a:pt x="3304" y="2287"/>
                    <a:pt x="3299" y="2341"/>
                    <a:pt x="3297" y="2395"/>
                  </a:cubicBezTo>
                  <a:cubicBezTo>
                    <a:pt x="3294" y="2520"/>
                    <a:pt x="3250" y="2648"/>
                    <a:pt x="3176" y="2761"/>
                  </a:cubicBezTo>
                  <a:cubicBezTo>
                    <a:pt x="3109" y="2859"/>
                    <a:pt x="3022" y="2941"/>
                    <a:pt x="2933" y="2987"/>
                  </a:cubicBezTo>
                  <a:cubicBezTo>
                    <a:pt x="2892" y="3010"/>
                    <a:pt x="2853" y="3025"/>
                    <a:pt x="2815" y="3043"/>
                  </a:cubicBezTo>
                  <a:cubicBezTo>
                    <a:pt x="2802" y="3048"/>
                    <a:pt x="2792" y="3051"/>
                    <a:pt x="2781" y="3056"/>
                  </a:cubicBezTo>
                  <a:cubicBezTo>
                    <a:pt x="2581" y="3143"/>
                    <a:pt x="2379" y="3233"/>
                    <a:pt x="2210" y="3307"/>
                  </a:cubicBezTo>
                  <a:cubicBezTo>
                    <a:pt x="2138" y="3338"/>
                    <a:pt x="2061" y="3358"/>
                    <a:pt x="1971" y="3366"/>
                  </a:cubicBezTo>
                  <a:cubicBezTo>
                    <a:pt x="1935" y="3371"/>
                    <a:pt x="1897" y="3371"/>
                    <a:pt x="1864" y="3371"/>
                  </a:cubicBezTo>
                  <a:cubicBezTo>
                    <a:pt x="1784" y="3371"/>
                    <a:pt x="1705" y="3364"/>
                    <a:pt x="1630" y="3346"/>
                  </a:cubicBezTo>
                  <a:cubicBezTo>
                    <a:pt x="1571" y="3330"/>
                    <a:pt x="1520" y="3307"/>
                    <a:pt x="1474" y="3287"/>
                  </a:cubicBezTo>
                  <a:cubicBezTo>
                    <a:pt x="1474" y="3287"/>
                    <a:pt x="1474" y="3287"/>
                    <a:pt x="1466" y="3284"/>
                  </a:cubicBezTo>
                  <a:cubicBezTo>
                    <a:pt x="1233" y="3184"/>
                    <a:pt x="1031" y="3094"/>
                    <a:pt x="843" y="3012"/>
                  </a:cubicBezTo>
                  <a:cubicBezTo>
                    <a:pt x="746" y="2969"/>
                    <a:pt x="659" y="2900"/>
                    <a:pt x="584" y="2807"/>
                  </a:cubicBezTo>
                  <a:cubicBezTo>
                    <a:pt x="505" y="2705"/>
                    <a:pt x="459" y="2602"/>
                    <a:pt x="441" y="2492"/>
                  </a:cubicBezTo>
                  <a:cubicBezTo>
                    <a:pt x="436" y="2464"/>
                    <a:pt x="433" y="2438"/>
                    <a:pt x="431" y="2413"/>
                  </a:cubicBezTo>
                  <a:cubicBezTo>
                    <a:pt x="431" y="2413"/>
                    <a:pt x="431" y="2413"/>
                    <a:pt x="418" y="2269"/>
                  </a:cubicBezTo>
                  <a:cubicBezTo>
                    <a:pt x="418" y="2261"/>
                    <a:pt x="413" y="2179"/>
                    <a:pt x="405" y="2061"/>
                  </a:cubicBezTo>
                  <a:cubicBezTo>
                    <a:pt x="405" y="2061"/>
                    <a:pt x="405" y="2061"/>
                    <a:pt x="233" y="2061"/>
                  </a:cubicBezTo>
                  <a:cubicBezTo>
                    <a:pt x="156" y="2061"/>
                    <a:pt x="95" y="1997"/>
                    <a:pt x="95" y="1920"/>
                  </a:cubicBezTo>
                  <a:cubicBezTo>
                    <a:pt x="95" y="1920"/>
                    <a:pt x="95" y="1920"/>
                    <a:pt x="95" y="1290"/>
                  </a:cubicBezTo>
                  <a:cubicBezTo>
                    <a:pt x="95" y="1213"/>
                    <a:pt x="156" y="1151"/>
                    <a:pt x="233" y="1151"/>
                  </a:cubicBezTo>
                  <a:cubicBezTo>
                    <a:pt x="233" y="1151"/>
                    <a:pt x="233" y="1151"/>
                    <a:pt x="341" y="1151"/>
                  </a:cubicBezTo>
                  <a:cubicBezTo>
                    <a:pt x="336" y="1105"/>
                    <a:pt x="336" y="1074"/>
                    <a:pt x="333" y="1072"/>
                  </a:cubicBezTo>
                  <a:cubicBezTo>
                    <a:pt x="333" y="1072"/>
                    <a:pt x="333" y="1072"/>
                    <a:pt x="328" y="985"/>
                  </a:cubicBezTo>
                  <a:cubicBezTo>
                    <a:pt x="323" y="910"/>
                    <a:pt x="318" y="833"/>
                    <a:pt x="313" y="759"/>
                  </a:cubicBezTo>
                  <a:cubicBezTo>
                    <a:pt x="310" y="744"/>
                    <a:pt x="310" y="726"/>
                    <a:pt x="308" y="710"/>
                  </a:cubicBezTo>
                  <a:cubicBezTo>
                    <a:pt x="305" y="662"/>
                    <a:pt x="300" y="616"/>
                    <a:pt x="300" y="564"/>
                  </a:cubicBezTo>
                  <a:cubicBezTo>
                    <a:pt x="300" y="446"/>
                    <a:pt x="343" y="334"/>
                    <a:pt x="423" y="246"/>
                  </a:cubicBezTo>
                  <a:cubicBezTo>
                    <a:pt x="502" y="162"/>
                    <a:pt x="610" y="108"/>
                    <a:pt x="728" y="98"/>
                  </a:cubicBezTo>
                  <a:cubicBezTo>
                    <a:pt x="743" y="98"/>
                    <a:pt x="756" y="95"/>
                    <a:pt x="772" y="95"/>
                  </a:cubicBezTo>
                  <a:cubicBezTo>
                    <a:pt x="1436" y="95"/>
                    <a:pt x="2097" y="95"/>
                    <a:pt x="2761" y="95"/>
                  </a:cubicBezTo>
                  <a:cubicBezTo>
                    <a:pt x="2761" y="95"/>
                    <a:pt x="2761" y="95"/>
                    <a:pt x="2961" y="95"/>
                  </a:cubicBezTo>
                  <a:moveTo>
                    <a:pt x="2961" y="0"/>
                  </a:moveTo>
                  <a:cubicBezTo>
                    <a:pt x="2761" y="0"/>
                    <a:pt x="2761" y="0"/>
                    <a:pt x="2761" y="0"/>
                  </a:cubicBezTo>
                  <a:cubicBezTo>
                    <a:pt x="772" y="0"/>
                    <a:pt x="772" y="0"/>
                    <a:pt x="772" y="0"/>
                  </a:cubicBezTo>
                  <a:cubicBezTo>
                    <a:pt x="760" y="0"/>
                    <a:pt x="749" y="1"/>
                    <a:pt x="741" y="2"/>
                  </a:cubicBezTo>
                  <a:cubicBezTo>
                    <a:pt x="736" y="2"/>
                    <a:pt x="731" y="3"/>
                    <a:pt x="728" y="3"/>
                  </a:cubicBezTo>
                  <a:cubicBezTo>
                    <a:pt x="724" y="3"/>
                    <a:pt x="724" y="3"/>
                    <a:pt x="724" y="3"/>
                  </a:cubicBezTo>
                  <a:cubicBezTo>
                    <a:pt x="720" y="3"/>
                    <a:pt x="720" y="3"/>
                    <a:pt x="720" y="3"/>
                  </a:cubicBezTo>
                  <a:cubicBezTo>
                    <a:pt x="580" y="15"/>
                    <a:pt x="450" y="78"/>
                    <a:pt x="354" y="181"/>
                  </a:cubicBezTo>
                  <a:cubicBezTo>
                    <a:pt x="353" y="182"/>
                    <a:pt x="353" y="182"/>
                    <a:pt x="353" y="182"/>
                  </a:cubicBezTo>
                  <a:cubicBezTo>
                    <a:pt x="353" y="182"/>
                    <a:pt x="353" y="182"/>
                    <a:pt x="353" y="182"/>
                  </a:cubicBezTo>
                  <a:cubicBezTo>
                    <a:pt x="257" y="287"/>
                    <a:pt x="205" y="423"/>
                    <a:pt x="205" y="564"/>
                  </a:cubicBezTo>
                  <a:cubicBezTo>
                    <a:pt x="205" y="602"/>
                    <a:pt x="207" y="636"/>
                    <a:pt x="210" y="669"/>
                  </a:cubicBezTo>
                  <a:cubicBezTo>
                    <a:pt x="211" y="685"/>
                    <a:pt x="212" y="700"/>
                    <a:pt x="213" y="715"/>
                  </a:cubicBezTo>
                  <a:cubicBezTo>
                    <a:pt x="213" y="721"/>
                    <a:pt x="213" y="721"/>
                    <a:pt x="213" y="721"/>
                  </a:cubicBezTo>
                  <a:cubicBezTo>
                    <a:pt x="214" y="726"/>
                    <a:pt x="214" y="726"/>
                    <a:pt x="214" y="726"/>
                  </a:cubicBezTo>
                  <a:cubicBezTo>
                    <a:pt x="214" y="730"/>
                    <a:pt x="215" y="736"/>
                    <a:pt x="215" y="742"/>
                  </a:cubicBezTo>
                  <a:cubicBezTo>
                    <a:pt x="216" y="750"/>
                    <a:pt x="217" y="760"/>
                    <a:pt x="218" y="770"/>
                  </a:cubicBezTo>
                  <a:cubicBezTo>
                    <a:pt x="221" y="806"/>
                    <a:pt x="223" y="842"/>
                    <a:pt x="226" y="879"/>
                  </a:cubicBezTo>
                  <a:cubicBezTo>
                    <a:pt x="228" y="916"/>
                    <a:pt x="231" y="954"/>
                    <a:pt x="233" y="991"/>
                  </a:cubicBezTo>
                  <a:cubicBezTo>
                    <a:pt x="237" y="1056"/>
                    <a:pt x="237" y="1056"/>
                    <a:pt x="237" y="1056"/>
                  </a:cubicBezTo>
                  <a:cubicBezTo>
                    <a:pt x="233" y="1056"/>
                    <a:pt x="233" y="1056"/>
                    <a:pt x="233" y="1056"/>
                  </a:cubicBezTo>
                  <a:cubicBezTo>
                    <a:pt x="171" y="1056"/>
                    <a:pt x="112" y="1080"/>
                    <a:pt x="68" y="1124"/>
                  </a:cubicBezTo>
                  <a:cubicBezTo>
                    <a:pt x="24" y="1168"/>
                    <a:pt x="0" y="1227"/>
                    <a:pt x="0" y="1290"/>
                  </a:cubicBezTo>
                  <a:cubicBezTo>
                    <a:pt x="0" y="1920"/>
                    <a:pt x="0" y="1920"/>
                    <a:pt x="0" y="1920"/>
                  </a:cubicBezTo>
                  <a:cubicBezTo>
                    <a:pt x="0" y="2051"/>
                    <a:pt x="104" y="2156"/>
                    <a:pt x="233" y="2156"/>
                  </a:cubicBezTo>
                  <a:cubicBezTo>
                    <a:pt x="316" y="2156"/>
                    <a:pt x="316" y="2156"/>
                    <a:pt x="316" y="2156"/>
                  </a:cubicBezTo>
                  <a:cubicBezTo>
                    <a:pt x="322" y="2246"/>
                    <a:pt x="323" y="2266"/>
                    <a:pt x="323" y="2270"/>
                  </a:cubicBezTo>
                  <a:cubicBezTo>
                    <a:pt x="323" y="2273"/>
                    <a:pt x="323" y="2273"/>
                    <a:pt x="323" y="2273"/>
                  </a:cubicBezTo>
                  <a:cubicBezTo>
                    <a:pt x="323" y="2277"/>
                    <a:pt x="323" y="2277"/>
                    <a:pt x="323" y="2277"/>
                  </a:cubicBezTo>
                  <a:cubicBezTo>
                    <a:pt x="336" y="2421"/>
                    <a:pt x="336" y="2421"/>
                    <a:pt x="336" y="2421"/>
                  </a:cubicBezTo>
                  <a:cubicBezTo>
                    <a:pt x="336" y="2421"/>
                    <a:pt x="336" y="2421"/>
                    <a:pt x="336" y="2421"/>
                  </a:cubicBezTo>
                  <a:cubicBezTo>
                    <a:pt x="336" y="2422"/>
                    <a:pt x="336" y="2422"/>
                    <a:pt x="336" y="2422"/>
                  </a:cubicBezTo>
                  <a:cubicBezTo>
                    <a:pt x="339" y="2449"/>
                    <a:pt x="341" y="2477"/>
                    <a:pt x="347" y="2508"/>
                  </a:cubicBezTo>
                  <a:cubicBezTo>
                    <a:pt x="368" y="2635"/>
                    <a:pt x="421" y="2752"/>
                    <a:pt x="509" y="2866"/>
                  </a:cubicBezTo>
                  <a:cubicBezTo>
                    <a:pt x="510" y="2866"/>
                    <a:pt x="510" y="2866"/>
                    <a:pt x="510" y="2866"/>
                  </a:cubicBezTo>
                  <a:cubicBezTo>
                    <a:pt x="510" y="2867"/>
                    <a:pt x="510" y="2867"/>
                    <a:pt x="510" y="2867"/>
                  </a:cubicBezTo>
                  <a:cubicBezTo>
                    <a:pt x="595" y="2971"/>
                    <a:pt x="693" y="3049"/>
                    <a:pt x="805" y="3099"/>
                  </a:cubicBezTo>
                  <a:cubicBezTo>
                    <a:pt x="805" y="3099"/>
                    <a:pt x="805" y="3099"/>
                    <a:pt x="805" y="3099"/>
                  </a:cubicBezTo>
                  <a:cubicBezTo>
                    <a:pt x="805" y="3099"/>
                    <a:pt x="805" y="3099"/>
                    <a:pt x="805" y="3099"/>
                  </a:cubicBezTo>
                  <a:cubicBezTo>
                    <a:pt x="847" y="3118"/>
                    <a:pt x="889" y="3136"/>
                    <a:pt x="932" y="3155"/>
                  </a:cubicBezTo>
                  <a:cubicBezTo>
                    <a:pt x="1087" y="3223"/>
                    <a:pt x="1247" y="3294"/>
                    <a:pt x="1429" y="3372"/>
                  </a:cubicBezTo>
                  <a:cubicBezTo>
                    <a:pt x="1432" y="3373"/>
                    <a:pt x="1432" y="3373"/>
                    <a:pt x="1432" y="3373"/>
                  </a:cubicBezTo>
                  <a:cubicBezTo>
                    <a:pt x="1436" y="3374"/>
                    <a:pt x="1436" y="3374"/>
                    <a:pt x="1436" y="3374"/>
                  </a:cubicBezTo>
                  <a:cubicBezTo>
                    <a:pt x="1440" y="3375"/>
                    <a:pt x="1440" y="3375"/>
                    <a:pt x="1440" y="3375"/>
                  </a:cubicBezTo>
                  <a:cubicBezTo>
                    <a:pt x="1487" y="3397"/>
                    <a:pt x="1542" y="3421"/>
                    <a:pt x="1606" y="3438"/>
                  </a:cubicBezTo>
                  <a:cubicBezTo>
                    <a:pt x="1607" y="3438"/>
                    <a:pt x="1607" y="3438"/>
                    <a:pt x="1607" y="3438"/>
                  </a:cubicBezTo>
                  <a:cubicBezTo>
                    <a:pt x="1608" y="3438"/>
                    <a:pt x="1608" y="3438"/>
                    <a:pt x="1608" y="3438"/>
                  </a:cubicBezTo>
                  <a:cubicBezTo>
                    <a:pt x="1686" y="3457"/>
                    <a:pt x="1772" y="3466"/>
                    <a:pt x="1864" y="3466"/>
                  </a:cubicBezTo>
                  <a:cubicBezTo>
                    <a:pt x="1898" y="3466"/>
                    <a:pt x="1940" y="3466"/>
                    <a:pt x="1982" y="3461"/>
                  </a:cubicBezTo>
                  <a:cubicBezTo>
                    <a:pt x="2076" y="3452"/>
                    <a:pt x="2163" y="3431"/>
                    <a:pt x="2247" y="3395"/>
                  </a:cubicBezTo>
                  <a:cubicBezTo>
                    <a:pt x="2248" y="3394"/>
                    <a:pt x="2248" y="3394"/>
                    <a:pt x="2248" y="3394"/>
                  </a:cubicBezTo>
                  <a:cubicBezTo>
                    <a:pt x="2248" y="3394"/>
                    <a:pt x="2248" y="3394"/>
                    <a:pt x="2248" y="3394"/>
                  </a:cubicBezTo>
                  <a:cubicBezTo>
                    <a:pt x="2303" y="3370"/>
                    <a:pt x="2362" y="3344"/>
                    <a:pt x="2423" y="3317"/>
                  </a:cubicBezTo>
                  <a:cubicBezTo>
                    <a:pt x="2552" y="3260"/>
                    <a:pt x="2685" y="3202"/>
                    <a:pt x="2819" y="3143"/>
                  </a:cubicBezTo>
                  <a:cubicBezTo>
                    <a:pt x="2822" y="3142"/>
                    <a:pt x="2822" y="3142"/>
                    <a:pt x="2822" y="3142"/>
                  </a:cubicBezTo>
                  <a:cubicBezTo>
                    <a:pt x="2824" y="3141"/>
                    <a:pt x="2824" y="3141"/>
                    <a:pt x="2824" y="3141"/>
                  </a:cubicBezTo>
                  <a:cubicBezTo>
                    <a:pt x="2825" y="3141"/>
                    <a:pt x="2829" y="3139"/>
                    <a:pt x="2832" y="3138"/>
                  </a:cubicBezTo>
                  <a:cubicBezTo>
                    <a:pt x="2837" y="3136"/>
                    <a:pt x="2843" y="3134"/>
                    <a:pt x="2850" y="3131"/>
                  </a:cubicBezTo>
                  <a:cubicBezTo>
                    <a:pt x="2852" y="3130"/>
                    <a:pt x="2852" y="3130"/>
                    <a:pt x="2852" y="3130"/>
                  </a:cubicBezTo>
                  <a:cubicBezTo>
                    <a:pt x="2855" y="3129"/>
                    <a:pt x="2855" y="3129"/>
                    <a:pt x="2855" y="3129"/>
                  </a:cubicBezTo>
                  <a:cubicBezTo>
                    <a:pt x="2865" y="3125"/>
                    <a:pt x="2875" y="3120"/>
                    <a:pt x="2886" y="3115"/>
                  </a:cubicBezTo>
                  <a:cubicBezTo>
                    <a:pt x="2915" y="3102"/>
                    <a:pt x="2945" y="3089"/>
                    <a:pt x="2978" y="3070"/>
                  </a:cubicBezTo>
                  <a:cubicBezTo>
                    <a:pt x="3080" y="3018"/>
                    <a:pt x="3178" y="2927"/>
                    <a:pt x="3255" y="2815"/>
                  </a:cubicBezTo>
                  <a:cubicBezTo>
                    <a:pt x="3255" y="2814"/>
                    <a:pt x="3255" y="2814"/>
                    <a:pt x="3255" y="2814"/>
                  </a:cubicBezTo>
                  <a:cubicBezTo>
                    <a:pt x="3256" y="2813"/>
                    <a:pt x="3256" y="2813"/>
                    <a:pt x="3256" y="2813"/>
                  </a:cubicBezTo>
                  <a:cubicBezTo>
                    <a:pt x="3341" y="2683"/>
                    <a:pt x="3388" y="2539"/>
                    <a:pt x="3392" y="2398"/>
                  </a:cubicBezTo>
                  <a:cubicBezTo>
                    <a:pt x="3394" y="2354"/>
                    <a:pt x="3398" y="2310"/>
                    <a:pt x="3402" y="2262"/>
                  </a:cubicBezTo>
                  <a:cubicBezTo>
                    <a:pt x="3403" y="2254"/>
                    <a:pt x="3403" y="2245"/>
                    <a:pt x="3404" y="2236"/>
                  </a:cubicBezTo>
                  <a:cubicBezTo>
                    <a:pt x="3405" y="2232"/>
                    <a:pt x="3405" y="2232"/>
                    <a:pt x="3405" y="2232"/>
                  </a:cubicBezTo>
                  <a:cubicBezTo>
                    <a:pt x="3405" y="2228"/>
                    <a:pt x="3405" y="2228"/>
                    <a:pt x="3405" y="2228"/>
                  </a:cubicBezTo>
                  <a:cubicBezTo>
                    <a:pt x="3405" y="2207"/>
                    <a:pt x="3407" y="2182"/>
                    <a:pt x="3409" y="2160"/>
                  </a:cubicBezTo>
                  <a:cubicBezTo>
                    <a:pt x="3409" y="2159"/>
                    <a:pt x="3409" y="2158"/>
                    <a:pt x="3409" y="2156"/>
                  </a:cubicBezTo>
                  <a:cubicBezTo>
                    <a:pt x="3489" y="2156"/>
                    <a:pt x="3489" y="2156"/>
                    <a:pt x="3489" y="2156"/>
                  </a:cubicBezTo>
                  <a:cubicBezTo>
                    <a:pt x="3618" y="2156"/>
                    <a:pt x="3722" y="2051"/>
                    <a:pt x="3722" y="1920"/>
                  </a:cubicBezTo>
                  <a:cubicBezTo>
                    <a:pt x="3722" y="1290"/>
                    <a:pt x="3722" y="1290"/>
                    <a:pt x="3722" y="1290"/>
                  </a:cubicBezTo>
                  <a:cubicBezTo>
                    <a:pt x="3722" y="1227"/>
                    <a:pt x="3698" y="1168"/>
                    <a:pt x="3654" y="1124"/>
                  </a:cubicBezTo>
                  <a:cubicBezTo>
                    <a:pt x="3610" y="1080"/>
                    <a:pt x="3551" y="1056"/>
                    <a:pt x="3489" y="1056"/>
                  </a:cubicBezTo>
                  <a:cubicBezTo>
                    <a:pt x="3489" y="1056"/>
                    <a:pt x="3489" y="1056"/>
                    <a:pt x="3489" y="1056"/>
                  </a:cubicBezTo>
                  <a:cubicBezTo>
                    <a:pt x="3495" y="964"/>
                    <a:pt x="3499" y="916"/>
                    <a:pt x="3499" y="893"/>
                  </a:cubicBezTo>
                  <a:cubicBezTo>
                    <a:pt x="3502" y="871"/>
                    <a:pt x="3504" y="848"/>
                    <a:pt x="3504" y="823"/>
                  </a:cubicBezTo>
                  <a:cubicBezTo>
                    <a:pt x="3507" y="797"/>
                    <a:pt x="3509" y="770"/>
                    <a:pt x="3511" y="745"/>
                  </a:cubicBezTo>
                  <a:cubicBezTo>
                    <a:pt x="3513" y="721"/>
                    <a:pt x="3515" y="696"/>
                    <a:pt x="3517" y="671"/>
                  </a:cubicBezTo>
                  <a:cubicBezTo>
                    <a:pt x="3517" y="666"/>
                    <a:pt x="3517" y="666"/>
                    <a:pt x="3517" y="666"/>
                  </a:cubicBezTo>
                  <a:cubicBezTo>
                    <a:pt x="3517" y="662"/>
                    <a:pt x="3517" y="662"/>
                    <a:pt x="3517" y="662"/>
                  </a:cubicBezTo>
                  <a:cubicBezTo>
                    <a:pt x="3517" y="647"/>
                    <a:pt x="3517" y="647"/>
                    <a:pt x="3517" y="647"/>
                  </a:cubicBezTo>
                  <a:cubicBezTo>
                    <a:pt x="3520" y="610"/>
                    <a:pt x="3523" y="565"/>
                    <a:pt x="3520" y="513"/>
                  </a:cubicBezTo>
                  <a:cubicBezTo>
                    <a:pt x="3520" y="511"/>
                    <a:pt x="3520" y="511"/>
                    <a:pt x="3520" y="511"/>
                  </a:cubicBezTo>
                  <a:cubicBezTo>
                    <a:pt x="3520" y="510"/>
                    <a:pt x="3520" y="510"/>
                    <a:pt x="3520" y="510"/>
                  </a:cubicBezTo>
                  <a:cubicBezTo>
                    <a:pt x="3507" y="370"/>
                    <a:pt x="3443" y="241"/>
                    <a:pt x="3338" y="145"/>
                  </a:cubicBezTo>
                  <a:cubicBezTo>
                    <a:pt x="3337" y="145"/>
                    <a:pt x="3337" y="145"/>
                    <a:pt x="3337" y="145"/>
                  </a:cubicBezTo>
                  <a:cubicBezTo>
                    <a:pt x="3336" y="144"/>
                    <a:pt x="3336" y="144"/>
                    <a:pt x="3336" y="144"/>
                  </a:cubicBezTo>
                  <a:cubicBezTo>
                    <a:pt x="3231" y="51"/>
                    <a:pt x="3098" y="0"/>
                    <a:pt x="2961" y="0"/>
                  </a:cubicBezTo>
                  <a:close/>
                </a:path>
              </a:pathLst>
            </a:custGeom>
            <a:solidFill>
              <a:srgbClr val="E8E8E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4" name="Freeform 7"/>
            <p:cNvSpPr>
              <a:spLocks/>
            </p:cNvSpPr>
            <p:nvPr/>
          </p:nvSpPr>
          <p:spPr bwMode="auto">
            <a:xfrm>
              <a:off x="191" y="3688"/>
              <a:ext cx="465" cy="150"/>
            </a:xfrm>
            <a:custGeom>
              <a:avLst/>
              <a:gdLst>
                <a:gd name="T0" fmla="*/ 126 w 2823"/>
                <a:gd name="T1" fmla="*/ 654 h 900"/>
                <a:gd name="T2" fmla="*/ 141 w 2823"/>
                <a:gd name="T3" fmla="*/ 900 h 900"/>
                <a:gd name="T4" fmla="*/ 44 w 2823"/>
                <a:gd name="T5" fmla="*/ 900 h 900"/>
                <a:gd name="T6" fmla="*/ 36 w 2823"/>
                <a:gd name="T7" fmla="*/ 810 h 900"/>
                <a:gd name="T8" fmla="*/ 16 w 2823"/>
                <a:gd name="T9" fmla="*/ 500 h 900"/>
                <a:gd name="T10" fmla="*/ 3 w 2823"/>
                <a:gd name="T11" fmla="*/ 315 h 900"/>
                <a:gd name="T12" fmla="*/ 290 w 2823"/>
                <a:gd name="T13" fmla="*/ 3 h 900"/>
                <a:gd name="T14" fmla="*/ 321 w 2823"/>
                <a:gd name="T15" fmla="*/ 0 h 900"/>
                <a:gd name="T16" fmla="*/ 2510 w 2823"/>
                <a:gd name="T17" fmla="*/ 0 h 900"/>
                <a:gd name="T18" fmla="*/ 2820 w 2823"/>
                <a:gd name="T19" fmla="*/ 282 h 900"/>
                <a:gd name="T20" fmla="*/ 2817 w 2823"/>
                <a:gd name="T21" fmla="*/ 402 h 900"/>
                <a:gd name="T22" fmla="*/ 2802 w 2823"/>
                <a:gd name="T23" fmla="*/ 625 h 900"/>
                <a:gd name="T24" fmla="*/ 2782 w 2823"/>
                <a:gd name="T25" fmla="*/ 900 h 900"/>
                <a:gd name="T26" fmla="*/ 2682 w 2823"/>
                <a:gd name="T27" fmla="*/ 900 h 900"/>
                <a:gd name="T28" fmla="*/ 2699 w 2823"/>
                <a:gd name="T29" fmla="*/ 654 h 900"/>
                <a:gd name="T30" fmla="*/ 126 w 2823"/>
                <a:gd name="T31" fmla="*/ 654 h 9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23" h="900">
                  <a:moveTo>
                    <a:pt x="126" y="654"/>
                  </a:moveTo>
                  <a:cubicBezTo>
                    <a:pt x="131" y="736"/>
                    <a:pt x="136" y="818"/>
                    <a:pt x="141" y="900"/>
                  </a:cubicBezTo>
                  <a:cubicBezTo>
                    <a:pt x="108" y="900"/>
                    <a:pt x="77" y="900"/>
                    <a:pt x="44" y="900"/>
                  </a:cubicBezTo>
                  <a:cubicBezTo>
                    <a:pt x="41" y="872"/>
                    <a:pt x="39" y="841"/>
                    <a:pt x="36" y="810"/>
                  </a:cubicBezTo>
                  <a:cubicBezTo>
                    <a:pt x="28" y="707"/>
                    <a:pt x="21" y="602"/>
                    <a:pt x="16" y="500"/>
                  </a:cubicBezTo>
                  <a:cubicBezTo>
                    <a:pt x="10" y="438"/>
                    <a:pt x="3" y="377"/>
                    <a:pt x="3" y="315"/>
                  </a:cubicBezTo>
                  <a:cubicBezTo>
                    <a:pt x="0" y="151"/>
                    <a:pt x="126" y="15"/>
                    <a:pt x="290" y="3"/>
                  </a:cubicBezTo>
                  <a:cubicBezTo>
                    <a:pt x="300" y="0"/>
                    <a:pt x="310" y="0"/>
                    <a:pt x="321" y="0"/>
                  </a:cubicBezTo>
                  <a:cubicBezTo>
                    <a:pt x="1051" y="0"/>
                    <a:pt x="1779" y="0"/>
                    <a:pt x="2510" y="0"/>
                  </a:cubicBezTo>
                  <a:cubicBezTo>
                    <a:pt x="2669" y="0"/>
                    <a:pt x="2807" y="123"/>
                    <a:pt x="2820" y="282"/>
                  </a:cubicBezTo>
                  <a:cubicBezTo>
                    <a:pt x="2823" y="323"/>
                    <a:pt x="2820" y="364"/>
                    <a:pt x="2817" y="402"/>
                  </a:cubicBezTo>
                  <a:cubicBezTo>
                    <a:pt x="2812" y="477"/>
                    <a:pt x="2807" y="551"/>
                    <a:pt x="2802" y="625"/>
                  </a:cubicBezTo>
                  <a:cubicBezTo>
                    <a:pt x="2794" y="718"/>
                    <a:pt x="2787" y="807"/>
                    <a:pt x="2782" y="900"/>
                  </a:cubicBezTo>
                  <a:cubicBezTo>
                    <a:pt x="2748" y="900"/>
                    <a:pt x="2715" y="900"/>
                    <a:pt x="2682" y="900"/>
                  </a:cubicBezTo>
                  <a:cubicBezTo>
                    <a:pt x="2689" y="818"/>
                    <a:pt x="2694" y="736"/>
                    <a:pt x="2699" y="654"/>
                  </a:cubicBezTo>
                  <a:cubicBezTo>
                    <a:pt x="1841" y="654"/>
                    <a:pt x="985" y="654"/>
                    <a:pt x="126" y="654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5" name="Freeform 8"/>
            <p:cNvSpPr>
              <a:spLocks/>
            </p:cNvSpPr>
            <p:nvPr/>
          </p:nvSpPr>
          <p:spPr bwMode="auto">
            <a:xfrm>
              <a:off x="209" y="3990"/>
              <a:ext cx="430" cy="194"/>
            </a:xfrm>
            <a:custGeom>
              <a:avLst/>
              <a:gdLst>
                <a:gd name="T0" fmla="*/ 0 w 2605"/>
                <a:gd name="T1" fmla="*/ 0 h 1162"/>
                <a:gd name="T2" fmla="*/ 98 w 2605"/>
                <a:gd name="T3" fmla="*/ 0 h 1162"/>
                <a:gd name="T4" fmla="*/ 100 w 2605"/>
                <a:gd name="T5" fmla="*/ 46 h 1162"/>
                <a:gd name="T6" fmla="*/ 123 w 2605"/>
                <a:gd name="T7" fmla="*/ 357 h 1162"/>
                <a:gd name="T8" fmla="*/ 190 w 2605"/>
                <a:gd name="T9" fmla="*/ 544 h 1162"/>
                <a:gd name="T10" fmla="*/ 364 w 2605"/>
                <a:gd name="T11" fmla="*/ 710 h 1162"/>
                <a:gd name="T12" fmla="*/ 521 w 2605"/>
                <a:gd name="T13" fmla="*/ 780 h 1162"/>
                <a:gd name="T14" fmla="*/ 1054 w 2605"/>
                <a:gd name="T15" fmla="*/ 1013 h 1162"/>
                <a:gd name="T16" fmla="*/ 1223 w 2605"/>
                <a:gd name="T17" fmla="*/ 1054 h 1162"/>
                <a:gd name="T18" fmla="*/ 1485 w 2605"/>
                <a:gd name="T19" fmla="*/ 1036 h 1162"/>
                <a:gd name="T20" fmla="*/ 1610 w 2605"/>
                <a:gd name="T21" fmla="*/ 987 h 1162"/>
                <a:gd name="T22" fmla="*/ 2220 w 2605"/>
                <a:gd name="T23" fmla="*/ 721 h 1162"/>
                <a:gd name="T24" fmla="*/ 2387 w 2605"/>
                <a:gd name="T25" fmla="*/ 585 h 1162"/>
                <a:gd name="T26" fmla="*/ 2477 w 2605"/>
                <a:gd name="T27" fmla="*/ 393 h 1162"/>
                <a:gd name="T28" fmla="*/ 2487 w 2605"/>
                <a:gd name="T29" fmla="*/ 287 h 1162"/>
                <a:gd name="T30" fmla="*/ 2505 w 2605"/>
                <a:gd name="T31" fmla="*/ 8 h 1162"/>
                <a:gd name="T32" fmla="*/ 2507 w 2605"/>
                <a:gd name="T33" fmla="*/ 0 h 1162"/>
                <a:gd name="T34" fmla="*/ 2605 w 2605"/>
                <a:gd name="T35" fmla="*/ 0 h 1162"/>
                <a:gd name="T36" fmla="*/ 2600 w 2605"/>
                <a:gd name="T37" fmla="*/ 75 h 1162"/>
                <a:gd name="T38" fmla="*/ 2582 w 2605"/>
                <a:gd name="T39" fmla="*/ 328 h 1162"/>
                <a:gd name="T40" fmla="*/ 2300 w 2605"/>
                <a:gd name="T41" fmla="*/ 790 h 1162"/>
                <a:gd name="T42" fmla="*/ 2159 w 2605"/>
                <a:gd name="T43" fmla="*/ 854 h 1162"/>
                <a:gd name="T44" fmla="*/ 1587 w 2605"/>
                <a:gd name="T45" fmla="*/ 1105 h 1162"/>
                <a:gd name="T46" fmla="*/ 1395 w 2605"/>
                <a:gd name="T47" fmla="*/ 1151 h 1162"/>
                <a:gd name="T48" fmla="*/ 1105 w 2605"/>
                <a:gd name="T49" fmla="*/ 1133 h 1162"/>
                <a:gd name="T50" fmla="*/ 967 w 2605"/>
                <a:gd name="T51" fmla="*/ 1082 h 1162"/>
                <a:gd name="T52" fmla="*/ 344 w 2605"/>
                <a:gd name="T53" fmla="*/ 810 h 1162"/>
                <a:gd name="T54" fmla="*/ 144 w 2605"/>
                <a:gd name="T55" fmla="*/ 651 h 1162"/>
                <a:gd name="T56" fmla="*/ 31 w 2605"/>
                <a:gd name="T57" fmla="*/ 405 h 1162"/>
                <a:gd name="T58" fmla="*/ 18 w 2605"/>
                <a:gd name="T59" fmla="*/ 280 h 1162"/>
                <a:gd name="T60" fmla="*/ 0 w 2605"/>
                <a:gd name="T61" fmla="*/ 18 h 1162"/>
                <a:gd name="T62" fmla="*/ 0 w 2605"/>
                <a:gd name="T63" fmla="*/ 0 h 11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2605" h="1162">
                  <a:moveTo>
                    <a:pt x="0" y="0"/>
                  </a:moveTo>
                  <a:cubicBezTo>
                    <a:pt x="34" y="0"/>
                    <a:pt x="64" y="0"/>
                    <a:pt x="98" y="0"/>
                  </a:cubicBezTo>
                  <a:cubicBezTo>
                    <a:pt x="98" y="16"/>
                    <a:pt x="100" y="31"/>
                    <a:pt x="100" y="46"/>
                  </a:cubicBezTo>
                  <a:cubicBezTo>
                    <a:pt x="108" y="149"/>
                    <a:pt x="116" y="254"/>
                    <a:pt x="123" y="357"/>
                  </a:cubicBezTo>
                  <a:cubicBezTo>
                    <a:pt x="129" y="426"/>
                    <a:pt x="154" y="487"/>
                    <a:pt x="190" y="544"/>
                  </a:cubicBezTo>
                  <a:cubicBezTo>
                    <a:pt x="234" y="613"/>
                    <a:pt x="290" y="672"/>
                    <a:pt x="364" y="710"/>
                  </a:cubicBezTo>
                  <a:cubicBezTo>
                    <a:pt x="416" y="736"/>
                    <a:pt x="470" y="757"/>
                    <a:pt x="521" y="780"/>
                  </a:cubicBezTo>
                  <a:cubicBezTo>
                    <a:pt x="700" y="857"/>
                    <a:pt x="877" y="936"/>
                    <a:pt x="1054" y="1013"/>
                  </a:cubicBezTo>
                  <a:cubicBezTo>
                    <a:pt x="1108" y="1036"/>
                    <a:pt x="1164" y="1049"/>
                    <a:pt x="1223" y="1054"/>
                  </a:cubicBezTo>
                  <a:cubicBezTo>
                    <a:pt x="1310" y="1062"/>
                    <a:pt x="1400" y="1059"/>
                    <a:pt x="1485" y="1036"/>
                  </a:cubicBezTo>
                  <a:cubicBezTo>
                    <a:pt x="1528" y="1023"/>
                    <a:pt x="1569" y="1005"/>
                    <a:pt x="1610" y="987"/>
                  </a:cubicBezTo>
                  <a:cubicBezTo>
                    <a:pt x="1813" y="898"/>
                    <a:pt x="2018" y="808"/>
                    <a:pt x="2220" y="721"/>
                  </a:cubicBezTo>
                  <a:cubicBezTo>
                    <a:pt x="2287" y="690"/>
                    <a:pt x="2341" y="641"/>
                    <a:pt x="2387" y="585"/>
                  </a:cubicBezTo>
                  <a:cubicBezTo>
                    <a:pt x="2431" y="526"/>
                    <a:pt x="2464" y="464"/>
                    <a:pt x="2477" y="393"/>
                  </a:cubicBezTo>
                  <a:cubicBezTo>
                    <a:pt x="2482" y="357"/>
                    <a:pt x="2484" y="321"/>
                    <a:pt x="2487" y="287"/>
                  </a:cubicBezTo>
                  <a:cubicBezTo>
                    <a:pt x="2492" y="193"/>
                    <a:pt x="2500" y="100"/>
                    <a:pt x="2505" y="8"/>
                  </a:cubicBezTo>
                  <a:cubicBezTo>
                    <a:pt x="2505" y="5"/>
                    <a:pt x="2507" y="3"/>
                    <a:pt x="2507" y="0"/>
                  </a:cubicBezTo>
                  <a:cubicBezTo>
                    <a:pt x="2541" y="0"/>
                    <a:pt x="2572" y="0"/>
                    <a:pt x="2605" y="0"/>
                  </a:cubicBezTo>
                  <a:cubicBezTo>
                    <a:pt x="2605" y="26"/>
                    <a:pt x="2602" y="52"/>
                    <a:pt x="2600" y="75"/>
                  </a:cubicBezTo>
                  <a:cubicBezTo>
                    <a:pt x="2595" y="159"/>
                    <a:pt x="2584" y="244"/>
                    <a:pt x="2582" y="328"/>
                  </a:cubicBezTo>
                  <a:cubicBezTo>
                    <a:pt x="2577" y="541"/>
                    <a:pt x="2428" y="723"/>
                    <a:pt x="2300" y="790"/>
                  </a:cubicBezTo>
                  <a:cubicBezTo>
                    <a:pt x="2254" y="816"/>
                    <a:pt x="2205" y="833"/>
                    <a:pt x="2159" y="854"/>
                  </a:cubicBezTo>
                  <a:cubicBezTo>
                    <a:pt x="1967" y="939"/>
                    <a:pt x="1777" y="1021"/>
                    <a:pt x="1587" y="1105"/>
                  </a:cubicBezTo>
                  <a:cubicBezTo>
                    <a:pt x="1526" y="1131"/>
                    <a:pt x="1459" y="1146"/>
                    <a:pt x="1395" y="1151"/>
                  </a:cubicBezTo>
                  <a:cubicBezTo>
                    <a:pt x="1297" y="1162"/>
                    <a:pt x="1200" y="1156"/>
                    <a:pt x="1105" y="1133"/>
                  </a:cubicBezTo>
                  <a:cubicBezTo>
                    <a:pt x="1057" y="1123"/>
                    <a:pt x="1013" y="1103"/>
                    <a:pt x="967" y="1082"/>
                  </a:cubicBezTo>
                  <a:cubicBezTo>
                    <a:pt x="759" y="992"/>
                    <a:pt x="552" y="900"/>
                    <a:pt x="344" y="810"/>
                  </a:cubicBezTo>
                  <a:cubicBezTo>
                    <a:pt x="264" y="774"/>
                    <a:pt x="198" y="721"/>
                    <a:pt x="144" y="651"/>
                  </a:cubicBezTo>
                  <a:cubicBezTo>
                    <a:pt x="88" y="577"/>
                    <a:pt x="47" y="498"/>
                    <a:pt x="31" y="405"/>
                  </a:cubicBezTo>
                  <a:cubicBezTo>
                    <a:pt x="23" y="364"/>
                    <a:pt x="23" y="321"/>
                    <a:pt x="18" y="280"/>
                  </a:cubicBezTo>
                  <a:cubicBezTo>
                    <a:pt x="13" y="193"/>
                    <a:pt x="6" y="105"/>
                    <a:pt x="0" y="18"/>
                  </a:cubicBezTo>
                  <a:cubicBezTo>
                    <a:pt x="0" y="13"/>
                    <a:pt x="0" y="8"/>
                    <a:pt x="0" y="0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6" name="Freeform 9"/>
            <p:cNvSpPr>
              <a:spLocks/>
            </p:cNvSpPr>
            <p:nvPr/>
          </p:nvSpPr>
          <p:spPr bwMode="auto">
            <a:xfrm>
              <a:off x="233" y="3875"/>
              <a:ext cx="90" cy="82"/>
            </a:xfrm>
            <a:custGeom>
              <a:avLst/>
              <a:gdLst>
                <a:gd name="T0" fmla="*/ 369 w 543"/>
                <a:gd name="T1" fmla="*/ 0 h 492"/>
                <a:gd name="T2" fmla="*/ 518 w 543"/>
                <a:gd name="T3" fmla="*/ 0 h 492"/>
                <a:gd name="T4" fmla="*/ 543 w 543"/>
                <a:gd name="T5" fmla="*/ 492 h 492"/>
                <a:gd name="T6" fmla="*/ 433 w 543"/>
                <a:gd name="T7" fmla="*/ 492 h 492"/>
                <a:gd name="T8" fmla="*/ 420 w 543"/>
                <a:gd name="T9" fmla="*/ 110 h 492"/>
                <a:gd name="T10" fmla="*/ 418 w 543"/>
                <a:gd name="T11" fmla="*/ 118 h 492"/>
                <a:gd name="T12" fmla="*/ 308 w 543"/>
                <a:gd name="T13" fmla="*/ 477 h 492"/>
                <a:gd name="T14" fmla="*/ 300 w 543"/>
                <a:gd name="T15" fmla="*/ 484 h 492"/>
                <a:gd name="T16" fmla="*/ 218 w 543"/>
                <a:gd name="T17" fmla="*/ 484 h 492"/>
                <a:gd name="T18" fmla="*/ 120 w 543"/>
                <a:gd name="T19" fmla="*/ 107 h 492"/>
                <a:gd name="T20" fmla="*/ 105 w 543"/>
                <a:gd name="T21" fmla="*/ 492 h 492"/>
                <a:gd name="T22" fmla="*/ 0 w 543"/>
                <a:gd name="T23" fmla="*/ 492 h 492"/>
                <a:gd name="T24" fmla="*/ 31 w 543"/>
                <a:gd name="T25" fmla="*/ 0 h 492"/>
                <a:gd name="T26" fmla="*/ 179 w 543"/>
                <a:gd name="T27" fmla="*/ 0 h 492"/>
                <a:gd name="T28" fmla="*/ 228 w 543"/>
                <a:gd name="T29" fmla="*/ 169 h 492"/>
                <a:gd name="T30" fmla="*/ 269 w 543"/>
                <a:gd name="T31" fmla="*/ 336 h 492"/>
                <a:gd name="T32" fmla="*/ 369 w 543"/>
                <a:gd name="T33" fmla="*/ 0 h 4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543" h="492">
                  <a:moveTo>
                    <a:pt x="369" y="0"/>
                  </a:moveTo>
                  <a:cubicBezTo>
                    <a:pt x="420" y="0"/>
                    <a:pt x="466" y="0"/>
                    <a:pt x="518" y="0"/>
                  </a:cubicBezTo>
                  <a:cubicBezTo>
                    <a:pt x="525" y="164"/>
                    <a:pt x="536" y="328"/>
                    <a:pt x="543" y="492"/>
                  </a:cubicBezTo>
                  <a:cubicBezTo>
                    <a:pt x="508" y="492"/>
                    <a:pt x="472" y="492"/>
                    <a:pt x="433" y="492"/>
                  </a:cubicBezTo>
                  <a:cubicBezTo>
                    <a:pt x="431" y="364"/>
                    <a:pt x="425" y="238"/>
                    <a:pt x="420" y="110"/>
                  </a:cubicBezTo>
                  <a:cubicBezTo>
                    <a:pt x="420" y="113"/>
                    <a:pt x="418" y="115"/>
                    <a:pt x="418" y="118"/>
                  </a:cubicBezTo>
                  <a:cubicBezTo>
                    <a:pt x="382" y="238"/>
                    <a:pt x="346" y="359"/>
                    <a:pt x="308" y="477"/>
                  </a:cubicBezTo>
                  <a:cubicBezTo>
                    <a:pt x="308" y="482"/>
                    <a:pt x="305" y="487"/>
                    <a:pt x="300" y="484"/>
                  </a:cubicBezTo>
                  <a:cubicBezTo>
                    <a:pt x="274" y="484"/>
                    <a:pt x="246" y="484"/>
                    <a:pt x="218" y="484"/>
                  </a:cubicBezTo>
                  <a:cubicBezTo>
                    <a:pt x="185" y="359"/>
                    <a:pt x="146" y="236"/>
                    <a:pt x="120" y="107"/>
                  </a:cubicBezTo>
                  <a:cubicBezTo>
                    <a:pt x="115" y="236"/>
                    <a:pt x="110" y="364"/>
                    <a:pt x="105" y="492"/>
                  </a:cubicBezTo>
                  <a:cubicBezTo>
                    <a:pt x="69" y="492"/>
                    <a:pt x="36" y="492"/>
                    <a:pt x="0" y="492"/>
                  </a:cubicBezTo>
                  <a:cubicBezTo>
                    <a:pt x="10" y="328"/>
                    <a:pt x="20" y="164"/>
                    <a:pt x="31" y="0"/>
                  </a:cubicBezTo>
                  <a:cubicBezTo>
                    <a:pt x="82" y="0"/>
                    <a:pt x="131" y="0"/>
                    <a:pt x="179" y="0"/>
                  </a:cubicBezTo>
                  <a:cubicBezTo>
                    <a:pt x="197" y="56"/>
                    <a:pt x="213" y="113"/>
                    <a:pt x="228" y="169"/>
                  </a:cubicBezTo>
                  <a:cubicBezTo>
                    <a:pt x="243" y="225"/>
                    <a:pt x="256" y="282"/>
                    <a:pt x="269" y="336"/>
                  </a:cubicBezTo>
                  <a:cubicBezTo>
                    <a:pt x="302" y="225"/>
                    <a:pt x="336" y="113"/>
                    <a:pt x="369" y="0"/>
                  </a:cubicBezTo>
                  <a:close/>
                </a:path>
              </a:pathLst>
            </a:custGeom>
            <a:solidFill>
              <a:srgbClr val="EC1D2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7" name="Freeform 10"/>
            <p:cNvSpPr>
              <a:spLocks/>
            </p:cNvSpPr>
            <p:nvPr/>
          </p:nvSpPr>
          <p:spPr bwMode="auto">
            <a:xfrm>
              <a:off x="623" y="3875"/>
              <a:ext cx="67" cy="82"/>
            </a:xfrm>
            <a:custGeom>
              <a:avLst/>
              <a:gdLst>
                <a:gd name="T0" fmla="*/ 0 w 407"/>
                <a:gd name="T1" fmla="*/ 0 h 495"/>
                <a:gd name="T2" fmla="*/ 107 w 407"/>
                <a:gd name="T3" fmla="*/ 0 h 495"/>
                <a:gd name="T4" fmla="*/ 141 w 407"/>
                <a:gd name="T5" fmla="*/ 20 h 495"/>
                <a:gd name="T6" fmla="*/ 266 w 407"/>
                <a:gd name="T7" fmla="*/ 246 h 495"/>
                <a:gd name="T8" fmla="*/ 307 w 407"/>
                <a:gd name="T9" fmla="*/ 333 h 495"/>
                <a:gd name="T10" fmla="*/ 312 w 407"/>
                <a:gd name="T11" fmla="*/ 343 h 495"/>
                <a:gd name="T12" fmla="*/ 305 w 407"/>
                <a:gd name="T13" fmla="*/ 0 h 495"/>
                <a:gd name="T14" fmla="*/ 407 w 407"/>
                <a:gd name="T15" fmla="*/ 0 h 495"/>
                <a:gd name="T16" fmla="*/ 407 w 407"/>
                <a:gd name="T17" fmla="*/ 492 h 495"/>
                <a:gd name="T18" fmla="*/ 402 w 407"/>
                <a:gd name="T19" fmla="*/ 495 h 495"/>
                <a:gd name="T20" fmla="*/ 300 w 407"/>
                <a:gd name="T21" fmla="*/ 492 h 495"/>
                <a:gd name="T22" fmla="*/ 287 w 407"/>
                <a:gd name="T23" fmla="*/ 487 h 495"/>
                <a:gd name="T24" fmla="*/ 135 w 407"/>
                <a:gd name="T25" fmla="*/ 207 h 495"/>
                <a:gd name="T26" fmla="*/ 100 w 407"/>
                <a:gd name="T27" fmla="*/ 130 h 495"/>
                <a:gd name="T28" fmla="*/ 105 w 407"/>
                <a:gd name="T29" fmla="*/ 492 h 495"/>
                <a:gd name="T30" fmla="*/ 0 w 407"/>
                <a:gd name="T31" fmla="*/ 492 h 495"/>
                <a:gd name="T32" fmla="*/ 0 w 407"/>
                <a:gd name="T33" fmla="*/ 0 h 4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407" h="495">
                  <a:moveTo>
                    <a:pt x="0" y="0"/>
                  </a:moveTo>
                  <a:cubicBezTo>
                    <a:pt x="35" y="0"/>
                    <a:pt x="71" y="2"/>
                    <a:pt x="107" y="0"/>
                  </a:cubicBezTo>
                  <a:cubicBezTo>
                    <a:pt x="125" y="0"/>
                    <a:pt x="133" y="5"/>
                    <a:pt x="141" y="20"/>
                  </a:cubicBezTo>
                  <a:cubicBezTo>
                    <a:pt x="182" y="95"/>
                    <a:pt x="225" y="169"/>
                    <a:pt x="266" y="246"/>
                  </a:cubicBezTo>
                  <a:cubicBezTo>
                    <a:pt x="282" y="274"/>
                    <a:pt x="292" y="305"/>
                    <a:pt x="307" y="333"/>
                  </a:cubicBezTo>
                  <a:cubicBezTo>
                    <a:pt x="307" y="338"/>
                    <a:pt x="310" y="341"/>
                    <a:pt x="312" y="343"/>
                  </a:cubicBezTo>
                  <a:cubicBezTo>
                    <a:pt x="302" y="230"/>
                    <a:pt x="305" y="115"/>
                    <a:pt x="305" y="0"/>
                  </a:cubicBezTo>
                  <a:cubicBezTo>
                    <a:pt x="341" y="0"/>
                    <a:pt x="374" y="0"/>
                    <a:pt x="407" y="0"/>
                  </a:cubicBezTo>
                  <a:cubicBezTo>
                    <a:pt x="407" y="164"/>
                    <a:pt x="407" y="328"/>
                    <a:pt x="407" y="492"/>
                  </a:cubicBezTo>
                  <a:cubicBezTo>
                    <a:pt x="405" y="492"/>
                    <a:pt x="402" y="495"/>
                    <a:pt x="402" y="495"/>
                  </a:cubicBezTo>
                  <a:cubicBezTo>
                    <a:pt x="366" y="495"/>
                    <a:pt x="333" y="495"/>
                    <a:pt x="300" y="492"/>
                  </a:cubicBezTo>
                  <a:cubicBezTo>
                    <a:pt x="294" y="492"/>
                    <a:pt x="289" y="489"/>
                    <a:pt x="287" y="487"/>
                  </a:cubicBezTo>
                  <a:cubicBezTo>
                    <a:pt x="235" y="395"/>
                    <a:pt x="184" y="300"/>
                    <a:pt x="135" y="207"/>
                  </a:cubicBezTo>
                  <a:cubicBezTo>
                    <a:pt x="123" y="182"/>
                    <a:pt x="112" y="156"/>
                    <a:pt x="100" y="130"/>
                  </a:cubicBezTo>
                  <a:cubicBezTo>
                    <a:pt x="102" y="251"/>
                    <a:pt x="102" y="371"/>
                    <a:pt x="105" y="492"/>
                  </a:cubicBezTo>
                  <a:cubicBezTo>
                    <a:pt x="69" y="492"/>
                    <a:pt x="35" y="492"/>
                    <a:pt x="0" y="492"/>
                  </a:cubicBezTo>
                  <a:cubicBezTo>
                    <a:pt x="0" y="328"/>
                    <a:pt x="0" y="166"/>
                    <a:pt x="0" y="0"/>
                  </a:cubicBezTo>
                  <a:close/>
                </a:path>
              </a:pathLst>
            </a:custGeom>
            <a:solidFill>
              <a:srgbClr val="EC1D2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8" name="Freeform 11"/>
            <p:cNvSpPr>
              <a:spLocks noEditPoints="1"/>
            </p:cNvSpPr>
            <p:nvPr/>
          </p:nvSpPr>
          <p:spPr bwMode="auto">
            <a:xfrm>
              <a:off x="391" y="3874"/>
              <a:ext cx="61" cy="83"/>
            </a:xfrm>
            <a:custGeom>
              <a:avLst/>
              <a:gdLst>
                <a:gd name="T0" fmla="*/ 108 w 372"/>
                <a:gd name="T1" fmla="*/ 305 h 500"/>
                <a:gd name="T2" fmla="*/ 108 w 372"/>
                <a:gd name="T3" fmla="*/ 497 h 500"/>
                <a:gd name="T4" fmla="*/ 0 w 372"/>
                <a:gd name="T5" fmla="*/ 497 h 500"/>
                <a:gd name="T6" fmla="*/ 0 w 372"/>
                <a:gd name="T7" fmla="*/ 12 h 500"/>
                <a:gd name="T8" fmla="*/ 87 w 372"/>
                <a:gd name="T9" fmla="*/ 5 h 500"/>
                <a:gd name="T10" fmla="*/ 228 w 372"/>
                <a:gd name="T11" fmla="*/ 7 h 500"/>
                <a:gd name="T12" fmla="*/ 321 w 372"/>
                <a:gd name="T13" fmla="*/ 53 h 500"/>
                <a:gd name="T14" fmla="*/ 277 w 372"/>
                <a:gd name="T15" fmla="*/ 261 h 500"/>
                <a:gd name="T16" fmla="*/ 267 w 372"/>
                <a:gd name="T17" fmla="*/ 266 h 500"/>
                <a:gd name="T18" fmla="*/ 269 w 372"/>
                <a:gd name="T19" fmla="*/ 269 h 500"/>
                <a:gd name="T20" fmla="*/ 321 w 372"/>
                <a:gd name="T21" fmla="*/ 325 h 500"/>
                <a:gd name="T22" fmla="*/ 349 w 372"/>
                <a:gd name="T23" fmla="*/ 425 h 500"/>
                <a:gd name="T24" fmla="*/ 369 w 372"/>
                <a:gd name="T25" fmla="*/ 497 h 500"/>
                <a:gd name="T26" fmla="*/ 362 w 372"/>
                <a:gd name="T27" fmla="*/ 500 h 500"/>
                <a:gd name="T28" fmla="*/ 264 w 372"/>
                <a:gd name="T29" fmla="*/ 500 h 500"/>
                <a:gd name="T30" fmla="*/ 251 w 372"/>
                <a:gd name="T31" fmla="*/ 489 h 500"/>
                <a:gd name="T32" fmla="*/ 221 w 372"/>
                <a:gd name="T33" fmla="*/ 382 h 500"/>
                <a:gd name="T34" fmla="*/ 210 w 372"/>
                <a:gd name="T35" fmla="*/ 348 h 500"/>
                <a:gd name="T36" fmla="*/ 154 w 372"/>
                <a:gd name="T37" fmla="*/ 305 h 500"/>
                <a:gd name="T38" fmla="*/ 108 w 372"/>
                <a:gd name="T39" fmla="*/ 305 h 500"/>
                <a:gd name="T40" fmla="*/ 110 w 372"/>
                <a:gd name="T41" fmla="*/ 223 h 500"/>
                <a:gd name="T42" fmla="*/ 162 w 372"/>
                <a:gd name="T43" fmla="*/ 223 h 500"/>
                <a:gd name="T44" fmla="*/ 215 w 372"/>
                <a:gd name="T45" fmla="*/ 205 h 500"/>
                <a:gd name="T46" fmla="*/ 210 w 372"/>
                <a:gd name="T47" fmla="*/ 97 h 500"/>
                <a:gd name="T48" fmla="*/ 110 w 372"/>
                <a:gd name="T49" fmla="*/ 89 h 500"/>
                <a:gd name="T50" fmla="*/ 110 w 372"/>
                <a:gd name="T51" fmla="*/ 223 h 5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372" h="500">
                  <a:moveTo>
                    <a:pt x="108" y="305"/>
                  </a:moveTo>
                  <a:cubicBezTo>
                    <a:pt x="108" y="369"/>
                    <a:pt x="108" y="433"/>
                    <a:pt x="108" y="497"/>
                  </a:cubicBezTo>
                  <a:cubicBezTo>
                    <a:pt x="72" y="497"/>
                    <a:pt x="36" y="497"/>
                    <a:pt x="0" y="497"/>
                  </a:cubicBezTo>
                  <a:cubicBezTo>
                    <a:pt x="0" y="335"/>
                    <a:pt x="0" y="174"/>
                    <a:pt x="0" y="12"/>
                  </a:cubicBezTo>
                  <a:cubicBezTo>
                    <a:pt x="28" y="10"/>
                    <a:pt x="57" y="5"/>
                    <a:pt x="87" y="5"/>
                  </a:cubicBezTo>
                  <a:cubicBezTo>
                    <a:pt x="133" y="0"/>
                    <a:pt x="180" y="0"/>
                    <a:pt x="228" y="7"/>
                  </a:cubicBezTo>
                  <a:cubicBezTo>
                    <a:pt x="262" y="15"/>
                    <a:pt x="295" y="28"/>
                    <a:pt x="321" y="53"/>
                  </a:cubicBezTo>
                  <a:cubicBezTo>
                    <a:pt x="367" y="102"/>
                    <a:pt x="372" y="215"/>
                    <a:pt x="277" y="261"/>
                  </a:cubicBezTo>
                  <a:cubicBezTo>
                    <a:pt x="274" y="261"/>
                    <a:pt x="269" y="264"/>
                    <a:pt x="267" y="266"/>
                  </a:cubicBezTo>
                  <a:cubicBezTo>
                    <a:pt x="267" y="266"/>
                    <a:pt x="267" y="269"/>
                    <a:pt x="269" y="269"/>
                  </a:cubicBezTo>
                  <a:cubicBezTo>
                    <a:pt x="295" y="279"/>
                    <a:pt x="310" y="300"/>
                    <a:pt x="321" y="325"/>
                  </a:cubicBezTo>
                  <a:cubicBezTo>
                    <a:pt x="331" y="359"/>
                    <a:pt x="338" y="392"/>
                    <a:pt x="349" y="425"/>
                  </a:cubicBezTo>
                  <a:cubicBezTo>
                    <a:pt x="356" y="448"/>
                    <a:pt x="362" y="471"/>
                    <a:pt x="369" y="497"/>
                  </a:cubicBezTo>
                  <a:cubicBezTo>
                    <a:pt x="367" y="497"/>
                    <a:pt x="364" y="500"/>
                    <a:pt x="362" y="500"/>
                  </a:cubicBezTo>
                  <a:cubicBezTo>
                    <a:pt x="328" y="500"/>
                    <a:pt x="297" y="497"/>
                    <a:pt x="264" y="500"/>
                  </a:cubicBezTo>
                  <a:cubicBezTo>
                    <a:pt x="256" y="500"/>
                    <a:pt x="254" y="497"/>
                    <a:pt x="251" y="489"/>
                  </a:cubicBezTo>
                  <a:cubicBezTo>
                    <a:pt x="241" y="453"/>
                    <a:pt x="231" y="417"/>
                    <a:pt x="221" y="382"/>
                  </a:cubicBezTo>
                  <a:cubicBezTo>
                    <a:pt x="218" y="369"/>
                    <a:pt x="215" y="359"/>
                    <a:pt x="210" y="348"/>
                  </a:cubicBezTo>
                  <a:cubicBezTo>
                    <a:pt x="203" y="323"/>
                    <a:pt x="182" y="307"/>
                    <a:pt x="154" y="305"/>
                  </a:cubicBezTo>
                  <a:cubicBezTo>
                    <a:pt x="139" y="305"/>
                    <a:pt x="126" y="305"/>
                    <a:pt x="108" y="305"/>
                  </a:cubicBezTo>
                  <a:close/>
                  <a:moveTo>
                    <a:pt x="110" y="223"/>
                  </a:moveTo>
                  <a:cubicBezTo>
                    <a:pt x="128" y="223"/>
                    <a:pt x="146" y="225"/>
                    <a:pt x="162" y="223"/>
                  </a:cubicBezTo>
                  <a:cubicBezTo>
                    <a:pt x="182" y="223"/>
                    <a:pt x="200" y="218"/>
                    <a:pt x="215" y="205"/>
                  </a:cubicBezTo>
                  <a:cubicBezTo>
                    <a:pt x="251" y="179"/>
                    <a:pt x="249" y="118"/>
                    <a:pt x="210" y="97"/>
                  </a:cubicBezTo>
                  <a:cubicBezTo>
                    <a:pt x="177" y="79"/>
                    <a:pt x="144" y="87"/>
                    <a:pt x="110" y="89"/>
                  </a:cubicBezTo>
                  <a:cubicBezTo>
                    <a:pt x="110" y="135"/>
                    <a:pt x="110" y="179"/>
                    <a:pt x="110" y="223"/>
                  </a:cubicBezTo>
                  <a:close/>
                </a:path>
              </a:pathLst>
            </a:custGeom>
            <a:solidFill>
              <a:srgbClr val="EC1D2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9" name="Freeform 12"/>
            <p:cNvSpPr>
              <a:spLocks noEditPoints="1"/>
            </p:cNvSpPr>
            <p:nvPr/>
          </p:nvSpPr>
          <p:spPr bwMode="auto">
            <a:xfrm>
              <a:off x="156" y="3875"/>
              <a:ext cx="74" cy="82"/>
            </a:xfrm>
            <a:custGeom>
              <a:avLst/>
              <a:gdLst>
                <a:gd name="T0" fmla="*/ 293 w 449"/>
                <a:gd name="T1" fmla="*/ 366 h 495"/>
                <a:gd name="T2" fmla="*/ 229 w 449"/>
                <a:gd name="T3" fmla="*/ 366 h 495"/>
                <a:gd name="T4" fmla="*/ 162 w 449"/>
                <a:gd name="T5" fmla="*/ 366 h 495"/>
                <a:gd name="T6" fmla="*/ 147 w 449"/>
                <a:gd name="T7" fmla="*/ 379 h 495"/>
                <a:gd name="T8" fmla="*/ 118 w 449"/>
                <a:gd name="T9" fmla="*/ 484 h 495"/>
                <a:gd name="T10" fmla="*/ 108 w 449"/>
                <a:gd name="T11" fmla="*/ 495 h 495"/>
                <a:gd name="T12" fmla="*/ 8 w 449"/>
                <a:gd name="T13" fmla="*/ 495 h 495"/>
                <a:gd name="T14" fmla="*/ 0 w 449"/>
                <a:gd name="T15" fmla="*/ 492 h 495"/>
                <a:gd name="T16" fmla="*/ 26 w 449"/>
                <a:gd name="T17" fmla="*/ 410 h 495"/>
                <a:gd name="T18" fmla="*/ 147 w 449"/>
                <a:gd name="T19" fmla="*/ 10 h 495"/>
                <a:gd name="T20" fmla="*/ 162 w 449"/>
                <a:gd name="T21" fmla="*/ 0 h 495"/>
                <a:gd name="T22" fmla="*/ 298 w 449"/>
                <a:gd name="T23" fmla="*/ 0 h 495"/>
                <a:gd name="T24" fmla="*/ 449 w 449"/>
                <a:gd name="T25" fmla="*/ 492 h 495"/>
                <a:gd name="T26" fmla="*/ 439 w 449"/>
                <a:gd name="T27" fmla="*/ 495 h 495"/>
                <a:gd name="T28" fmla="*/ 341 w 449"/>
                <a:gd name="T29" fmla="*/ 495 h 495"/>
                <a:gd name="T30" fmla="*/ 326 w 449"/>
                <a:gd name="T31" fmla="*/ 482 h 495"/>
                <a:gd name="T32" fmla="*/ 293 w 449"/>
                <a:gd name="T33" fmla="*/ 366 h 495"/>
                <a:gd name="T34" fmla="*/ 170 w 449"/>
                <a:gd name="T35" fmla="*/ 282 h 495"/>
                <a:gd name="T36" fmla="*/ 275 w 449"/>
                <a:gd name="T37" fmla="*/ 282 h 495"/>
                <a:gd name="T38" fmla="*/ 221 w 449"/>
                <a:gd name="T39" fmla="*/ 87 h 495"/>
                <a:gd name="T40" fmla="*/ 170 w 449"/>
                <a:gd name="T41" fmla="*/ 282 h 4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49" h="495">
                  <a:moveTo>
                    <a:pt x="293" y="366"/>
                  </a:moveTo>
                  <a:cubicBezTo>
                    <a:pt x="270" y="366"/>
                    <a:pt x="249" y="366"/>
                    <a:pt x="229" y="366"/>
                  </a:cubicBezTo>
                  <a:cubicBezTo>
                    <a:pt x="205" y="366"/>
                    <a:pt x="185" y="366"/>
                    <a:pt x="162" y="366"/>
                  </a:cubicBezTo>
                  <a:cubicBezTo>
                    <a:pt x="152" y="366"/>
                    <a:pt x="149" y="369"/>
                    <a:pt x="147" y="379"/>
                  </a:cubicBezTo>
                  <a:cubicBezTo>
                    <a:pt x="139" y="412"/>
                    <a:pt x="129" y="448"/>
                    <a:pt x="118" y="484"/>
                  </a:cubicBezTo>
                  <a:cubicBezTo>
                    <a:pt x="118" y="492"/>
                    <a:pt x="116" y="495"/>
                    <a:pt x="108" y="495"/>
                  </a:cubicBezTo>
                  <a:cubicBezTo>
                    <a:pt x="75" y="492"/>
                    <a:pt x="41" y="495"/>
                    <a:pt x="8" y="495"/>
                  </a:cubicBezTo>
                  <a:cubicBezTo>
                    <a:pt x="6" y="495"/>
                    <a:pt x="3" y="492"/>
                    <a:pt x="0" y="492"/>
                  </a:cubicBezTo>
                  <a:cubicBezTo>
                    <a:pt x="8" y="464"/>
                    <a:pt x="18" y="438"/>
                    <a:pt x="26" y="410"/>
                  </a:cubicBezTo>
                  <a:cubicBezTo>
                    <a:pt x="67" y="277"/>
                    <a:pt x="108" y="143"/>
                    <a:pt x="147" y="10"/>
                  </a:cubicBezTo>
                  <a:cubicBezTo>
                    <a:pt x="149" y="2"/>
                    <a:pt x="154" y="0"/>
                    <a:pt x="162" y="0"/>
                  </a:cubicBezTo>
                  <a:cubicBezTo>
                    <a:pt x="208" y="0"/>
                    <a:pt x="252" y="0"/>
                    <a:pt x="298" y="0"/>
                  </a:cubicBezTo>
                  <a:cubicBezTo>
                    <a:pt x="349" y="164"/>
                    <a:pt x="398" y="328"/>
                    <a:pt x="449" y="492"/>
                  </a:cubicBezTo>
                  <a:cubicBezTo>
                    <a:pt x="446" y="492"/>
                    <a:pt x="444" y="495"/>
                    <a:pt x="439" y="495"/>
                  </a:cubicBezTo>
                  <a:cubicBezTo>
                    <a:pt x="408" y="495"/>
                    <a:pt x="375" y="492"/>
                    <a:pt x="341" y="495"/>
                  </a:cubicBezTo>
                  <a:cubicBezTo>
                    <a:pt x="331" y="495"/>
                    <a:pt x="329" y="489"/>
                    <a:pt x="326" y="482"/>
                  </a:cubicBezTo>
                  <a:cubicBezTo>
                    <a:pt x="316" y="443"/>
                    <a:pt x="303" y="405"/>
                    <a:pt x="293" y="366"/>
                  </a:cubicBezTo>
                  <a:close/>
                  <a:moveTo>
                    <a:pt x="170" y="282"/>
                  </a:moveTo>
                  <a:cubicBezTo>
                    <a:pt x="203" y="282"/>
                    <a:pt x="239" y="282"/>
                    <a:pt x="275" y="282"/>
                  </a:cubicBezTo>
                  <a:cubicBezTo>
                    <a:pt x="254" y="215"/>
                    <a:pt x="236" y="151"/>
                    <a:pt x="221" y="87"/>
                  </a:cubicBezTo>
                  <a:cubicBezTo>
                    <a:pt x="203" y="151"/>
                    <a:pt x="185" y="218"/>
                    <a:pt x="170" y="282"/>
                  </a:cubicBezTo>
                  <a:close/>
                </a:path>
              </a:pathLst>
            </a:custGeom>
            <a:solidFill>
              <a:srgbClr val="EC1D2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0" name="Freeform 13"/>
            <p:cNvSpPr>
              <a:spLocks noEditPoints="1"/>
            </p:cNvSpPr>
            <p:nvPr/>
          </p:nvSpPr>
          <p:spPr bwMode="auto">
            <a:xfrm>
              <a:off x="546" y="3875"/>
              <a:ext cx="74" cy="82"/>
            </a:xfrm>
            <a:custGeom>
              <a:avLst/>
              <a:gdLst>
                <a:gd name="T0" fmla="*/ 151 w 451"/>
                <a:gd name="T1" fmla="*/ 0 h 495"/>
                <a:gd name="T2" fmla="*/ 297 w 451"/>
                <a:gd name="T3" fmla="*/ 0 h 495"/>
                <a:gd name="T4" fmla="*/ 451 w 451"/>
                <a:gd name="T5" fmla="*/ 495 h 495"/>
                <a:gd name="T6" fmla="*/ 420 w 451"/>
                <a:gd name="T7" fmla="*/ 495 h 495"/>
                <a:gd name="T8" fmla="*/ 338 w 451"/>
                <a:gd name="T9" fmla="*/ 495 h 495"/>
                <a:gd name="T10" fmla="*/ 325 w 451"/>
                <a:gd name="T11" fmla="*/ 484 h 495"/>
                <a:gd name="T12" fmla="*/ 292 w 451"/>
                <a:gd name="T13" fmla="*/ 374 h 495"/>
                <a:gd name="T14" fmla="*/ 284 w 451"/>
                <a:gd name="T15" fmla="*/ 366 h 495"/>
                <a:gd name="T16" fmla="*/ 151 w 451"/>
                <a:gd name="T17" fmla="*/ 366 h 495"/>
                <a:gd name="T18" fmla="*/ 120 w 451"/>
                <a:gd name="T19" fmla="*/ 479 h 495"/>
                <a:gd name="T20" fmla="*/ 102 w 451"/>
                <a:gd name="T21" fmla="*/ 495 h 495"/>
                <a:gd name="T22" fmla="*/ 13 w 451"/>
                <a:gd name="T23" fmla="*/ 495 h 495"/>
                <a:gd name="T24" fmla="*/ 0 w 451"/>
                <a:gd name="T25" fmla="*/ 495 h 495"/>
                <a:gd name="T26" fmla="*/ 151 w 451"/>
                <a:gd name="T27" fmla="*/ 0 h 495"/>
                <a:gd name="T28" fmla="*/ 220 w 451"/>
                <a:gd name="T29" fmla="*/ 87 h 495"/>
                <a:gd name="T30" fmla="*/ 169 w 451"/>
                <a:gd name="T31" fmla="*/ 282 h 495"/>
                <a:gd name="T32" fmla="*/ 274 w 451"/>
                <a:gd name="T33" fmla="*/ 282 h 495"/>
                <a:gd name="T34" fmla="*/ 220 w 451"/>
                <a:gd name="T35" fmla="*/ 87 h 4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451" h="495">
                  <a:moveTo>
                    <a:pt x="151" y="0"/>
                  </a:moveTo>
                  <a:cubicBezTo>
                    <a:pt x="200" y="0"/>
                    <a:pt x="249" y="0"/>
                    <a:pt x="297" y="0"/>
                  </a:cubicBezTo>
                  <a:cubicBezTo>
                    <a:pt x="349" y="164"/>
                    <a:pt x="397" y="328"/>
                    <a:pt x="451" y="495"/>
                  </a:cubicBezTo>
                  <a:cubicBezTo>
                    <a:pt x="438" y="495"/>
                    <a:pt x="431" y="495"/>
                    <a:pt x="420" y="495"/>
                  </a:cubicBezTo>
                  <a:cubicBezTo>
                    <a:pt x="395" y="495"/>
                    <a:pt x="366" y="492"/>
                    <a:pt x="338" y="495"/>
                  </a:cubicBezTo>
                  <a:cubicBezTo>
                    <a:pt x="331" y="495"/>
                    <a:pt x="328" y="492"/>
                    <a:pt x="325" y="484"/>
                  </a:cubicBezTo>
                  <a:cubicBezTo>
                    <a:pt x="315" y="448"/>
                    <a:pt x="305" y="410"/>
                    <a:pt x="292" y="374"/>
                  </a:cubicBezTo>
                  <a:cubicBezTo>
                    <a:pt x="292" y="371"/>
                    <a:pt x="287" y="366"/>
                    <a:pt x="284" y="366"/>
                  </a:cubicBezTo>
                  <a:cubicBezTo>
                    <a:pt x="241" y="366"/>
                    <a:pt x="195" y="366"/>
                    <a:pt x="151" y="366"/>
                  </a:cubicBezTo>
                  <a:cubicBezTo>
                    <a:pt x="141" y="405"/>
                    <a:pt x="131" y="441"/>
                    <a:pt x="120" y="479"/>
                  </a:cubicBezTo>
                  <a:cubicBezTo>
                    <a:pt x="118" y="489"/>
                    <a:pt x="113" y="495"/>
                    <a:pt x="102" y="495"/>
                  </a:cubicBezTo>
                  <a:cubicBezTo>
                    <a:pt x="72" y="492"/>
                    <a:pt x="41" y="495"/>
                    <a:pt x="13" y="495"/>
                  </a:cubicBezTo>
                  <a:cubicBezTo>
                    <a:pt x="8" y="495"/>
                    <a:pt x="5" y="495"/>
                    <a:pt x="0" y="495"/>
                  </a:cubicBezTo>
                  <a:cubicBezTo>
                    <a:pt x="51" y="328"/>
                    <a:pt x="100" y="164"/>
                    <a:pt x="151" y="0"/>
                  </a:cubicBezTo>
                  <a:close/>
                  <a:moveTo>
                    <a:pt x="220" y="87"/>
                  </a:moveTo>
                  <a:cubicBezTo>
                    <a:pt x="202" y="151"/>
                    <a:pt x="184" y="218"/>
                    <a:pt x="169" y="282"/>
                  </a:cubicBezTo>
                  <a:cubicBezTo>
                    <a:pt x="202" y="282"/>
                    <a:pt x="238" y="282"/>
                    <a:pt x="274" y="282"/>
                  </a:cubicBezTo>
                  <a:cubicBezTo>
                    <a:pt x="256" y="215"/>
                    <a:pt x="238" y="151"/>
                    <a:pt x="220" y="87"/>
                  </a:cubicBezTo>
                  <a:close/>
                </a:path>
              </a:pathLst>
            </a:custGeom>
            <a:solidFill>
              <a:srgbClr val="EC1D2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1" name="Freeform 14"/>
            <p:cNvSpPr>
              <a:spLocks/>
            </p:cNvSpPr>
            <p:nvPr/>
          </p:nvSpPr>
          <p:spPr bwMode="auto">
            <a:xfrm>
              <a:off x="331" y="3875"/>
              <a:ext cx="52" cy="82"/>
            </a:xfrm>
            <a:custGeom>
              <a:avLst/>
              <a:gdLst>
                <a:gd name="T0" fmla="*/ 313 w 313"/>
                <a:gd name="T1" fmla="*/ 490 h 490"/>
                <a:gd name="T2" fmla="*/ 0 w 313"/>
                <a:gd name="T3" fmla="*/ 490 h 490"/>
                <a:gd name="T4" fmla="*/ 0 w 313"/>
                <a:gd name="T5" fmla="*/ 0 h 490"/>
                <a:gd name="T6" fmla="*/ 303 w 313"/>
                <a:gd name="T7" fmla="*/ 0 h 490"/>
                <a:gd name="T8" fmla="*/ 303 w 313"/>
                <a:gd name="T9" fmla="*/ 90 h 490"/>
                <a:gd name="T10" fmla="*/ 110 w 313"/>
                <a:gd name="T11" fmla="*/ 90 h 490"/>
                <a:gd name="T12" fmla="*/ 110 w 313"/>
                <a:gd name="T13" fmla="*/ 193 h 490"/>
                <a:gd name="T14" fmla="*/ 292 w 313"/>
                <a:gd name="T15" fmla="*/ 193 h 490"/>
                <a:gd name="T16" fmla="*/ 292 w 313"/>
                <a:gd name="T17" fmla="*/ 282 h 490"/>
                <a:gd name="T18" fmla="*/ 110 w 313"/>
                <a:gd name="T19" fmla="*/ 282 h 490"/>
                <a:gd name="T20" fmla="*/ 110 w 313"/>
                <a:gd name="T21" fmla="*/ 398 h 490"/>
                <a:gd name="T22" fmla="*/ 313 w 313"/>
                <a:gd name="T23" fmla="*/ 398 h 490"/>
                <a:gd name="T24" fmla="*/ 313 w 313"/>
                <a:gd name="T25" fmla="*/ 490 h 4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13" h="490">
                  <a:moveTo>
                    <a:pt x="313" y="490"/>
                  </a:moveTo>
                  <a:cubicBezTo>
                    <a:pt x="208" y="490"/>
                    <a:pt x="105" y="490"/>
                    <a:pt x="0" y="490"/>
                  </a:cubicBezTo>
                  <a:cubicBezTo>
                    <a:pt x="0" y="326"/>
                    <a:pt x="0" y="164"/>
                    <a:pt x="0" y="0"/>
                  </a:cubicBezTo>
                  <a:cubicBezTo>
                    <a:pt x="100" y="0"/>
                    <a:pt x="200" y="0"/>
                    <a:pt x="303" y="0"/>
                  </a:cubicBezTo>
                  <a:cubicBezTo>
                    <a:pt x="303" y="29"/>
                    <a:pt x="303" y="59"/>
                    <a:pt x="303" y="90"/>
                  </a:cubicBezTo>
                  <a:cubicBezTo>
                    <a:pt x="239" y="90"/>
                    <a:pt x="175" y="90"/>
                    <a:pt x="110" y="90"/>
                  </a:cubicBezTo>
                  <a:cubicBezTo>
                    <a:pt x="110" y="123"/>
                    <a:pt x="110" y="157"/>
                    <a:pt x="110" y="193"/>
                  </a:cubicBezTo>
                  <a:cubicBezTo>
                    <a:pt x="172" y="193"/>
                    <a:pt x="231" y="193"/>
                    <a:pt x="292" y="193"/>
                  </a:cubicBezTo>
                  <a:cubicBezTo>
                    <a:pt x="292" y="223"/>
                    <a:pt x="292" y="252"/>
                    <a:pt x="292" y="282"/>
                  </a:cubicBezTo>
                  <a:cubicBezTo>
                    <a:pt x="231" y="282"/>
                    <a:pt x="172" y="282"/>
                    <a:pt x="110" y="282"/>
                  </a:cubicBezTo>
                  <a:cubicBezTo>
                    <a:pt x="110" y="321"/>
                    <a:pt x="110" y="359"/>
                    <a:pt x="110" y="398"/>
                  </a:cubicBezTo>
                  <a:cubicBezTo>
                    <a:pt x="177" y="398"/>
                    <a:pt x="244" y="398"/>
                    <a:pt x="313" y="398"/>
                  </a:cubicBezTo>
                  <a:cubicBezTo>
                    <a:pt x="313" y="431"/>
                    <a:pt x="313" y="459"/>
                    <a:pt x="313" y="490"/>
                  </a:cubicBezTo>
                  <a:close/>
                </a:path>
              </a:pathLst>
            </a:custGeom>
            <a:solidFill>
              <a:srgbClr val="EC1D2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2" name="Freeform 15"/>
            <p:cNvSpPr>
              <a:spLocks/>
            </p:cNvSpPr>
            <p:nvPr/>
          </p:nvSpPr>
          <p:spPr bwMode="auto">
            <a:xfrm>
              <a:off x="480" y="3873"/>
              <a:ext cx="66" cy="86"/>
            </a:xfrm>
            <a:custGeom>
              <a:avLst/>
              <a:gdLst>
                <a:gd name="T0" fmla="*/ 371 w 397"/>
                <a:gd name="T1" fmla="*/ 112 h 515"/>
                <a:gd name="T2" fmla="*/ 238 w 397"/>
                <a:gd name="T3" fmla="*/ 99 h 515"/>
                <a:gd name="T4" fmla="*/ 125 w 397"/>
                <a:gd name="T5" fmla="*/ 230 h 515"/>
                <a:gd name="T6" fmla="*/ 130 w 397"/>
                <a:gd name="T7" fmla="*/ 310 h 515"/>
                <a:gd name="T8" fmla="*/ 266 w 397"/>
                <a:gd name="T9" fmla="*/ 417 h 515"/>
                <a:gd name="T10" fmla="*/ 320 w 397"/>
                <a:gd name="T11" fmla="*/ 415 h 515"/>
                <a:gd name="T12" fmla="*/ 374 w 397"/>
                <a:gd name="T13" fmla="*/ 402 h 515"/>
                <a:gd name="T14" fmla="*/ 389 w 397"/>
                <a:gd name="T15" fmla="*/ 492 h 515"/>
                <a:gd name="T16" fmla="*/ 343 w 397"/>
                <a:gd name="T17" fmla="*/ 502 h 515"/>
                <a:gd name="T18" fmla="*/ 161 w 397"/>
                <a:gd name="T19" fmla="*/ 494 h 515"/>
                <a:gd name="T20" fmla="*/ 10 w 397"/>
                <a:gd name="T21" fmla="*/ 312 h 515"/>
                <a:gd name="T22" fmla="*/ 30 w 397"/>
                <a:gd name="T23" fmla="*/ 140 h 515"/>
                <a:gd name="T24" fmla="*/ 210 w 397"/>
                <a:gd name="T25" fmla="*/ 10 h 515"/>
                <a:gd name="T26" fmla="*/ 376 w 397"/>
                <a:gd name="T27" fmla="*/ 17 h 515"/>
                <a:gd name="T28" fmla="*/ 397 w 397"/>
                <a:gd name="T29" fmla="*/ 25 h 515"/>
                <a:gd name="T30" fmla="*/ 371 w 397"/>
                <a:gd name="T31" fmla="*/ 112 h 5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97" h="515">
                  <a:moveTo>
                    <a:pt x="371" y="112"/>
                  </a:moveTo>
                  <a:cubicBezTo>
                    <a:pt x="328" y="94"/>
                    <a:pt x="284" y="89"/>
                    <a:pt x="238" y="99"/>
                  </a:cubicBezTo>
                  <a:cubicBezTo>
                    <a:pt x="174" y="112"/>
                    <a:pt x="130" y="164"/>
                    <a:pt x="125" y="230"/>
                  </a:cubicBezTo>
                  <a:cubicBezTo>
                    <a:pt x="123" y="258"/>
                    <a:pt x="123" y="284"/>
                    <a:pt x="130" y="310"/>
                  </a:cubicBezTo>
                  <a:cubicBezTo>
                    <a:pt x="148" y="374"/>
                    <a:pt x="197" y="415"/>
                    <a:pt x="266" y="417"/>
                  </a:cubicBezTo>
                  <a:cubicBezTo>
                    <a:pt x="284" y="417"/>
                    <a:pt x="302" y="417"/>
                    <a:pt x="320" y="415"/>
                  </a:cubicBezTo>
                  <a:cubicBezTo>
                    <a:pt x="338" y="412"/>
                    <a:pt x="353" y="407"/>
                    <a:pt x="374" y="402"/>
                  </a:cubicBezTo>
                  <a:cubicBezTo>
                    <a:pt x="379" y="430"/>
                    <a:pt x="384" y="458"/>
                    <a:pt x="389" y="492"/>
                  </a:cubicBezTo>
                  <a:cubicBezTo>
                    <a:pt x="374" y="494"/>
                    <a:pt x="358" y="499"/>
                    <a:pt x="343" y="502"/>
                  </a:cubicBezTo>
                  <a:cubicBezTo>
                    <a:pt x="282" y="515"/>
                    <a:pt x="220" y="515"/>
                    <a:pt x="161" y="494"/>
                  </a:cubicBezTo>
                  <a:cubicBezTo>
                    <a:pt x="74" y="463"/>
                    <a:pt x="23" y="402"/>
                    <a:pt x="10" y="312"/>
                  </a:cubicBezTo>
                  <a:cubicBezTo>
                    <a:pt x="0" y="253"/>
                    <a:pt x="5" y="194"/>
                    <a:pt x="30" y="140"/>
                  </a:cubicBezTo>
                  <a:cubicBezTo>
                    <a:pt x="69" y="66"/>
                    <a:pt x="130" y="25"/>
                    <a:pt x="210" y="10"/>
                  </a:cubicBezTo>
                  <a:cubicBezTo>
                    <a:pt x="266" y="0"/>
                    <a:pt x="323" y="2"/>
                    <a:pt x="376" y="17"/>
                  </a:cubicBezTo>
                  <a:cubicBezTo>
                    <a:pt x="384" y="20"/>
                    <a:pt x="389" y="23"/>
                    <a:pt x="397" y="25"/>
                  </a:cubicBezTo>
                  <a:cubicBezTo>
                    <a:pt x="387" y="53"/>
                    <a:pt x="379" y="84"/>
                    <a:pt x="371" y="112"/>
                  </a:cubicBezTo>
                  <a:close/>
                </a:path>
              </a:pathLst>
            </a:custGeom>
            <a:solidFill>
              <a:srgbClr val="EC1D2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3" name="Freeform 16"/>
            <p:cNvSpPr>
              <a:spLocks noEditPoints="1"/>
            </p:cNvSpPr>
            <p:nvPr/>
          </p:nvSpPr>
          <p:spPr bwMode="auto">
            <a:xfrm>
              <a:off x="429" y="3970"/>
              <a:ext cx="53" cy="70"/>
            </a:xfrm>
            <a:custGeom>
              <a:avLst/>
              <a:gdLst>
                <a:gd name="T0" fmla="*/ 223 w 321"/>
                <a:gd name="T1" fmla="*/ 190 h 418"/>
                <a:gd name="T2" fmla="*/ 264 w 321"/>
                <a:gd name="T3" fmla="*/ 213 h 418"/>
                <a:gd name="T4" fmla="*/ 246 w 321"/>
                <a:gd name="T5" fmla="*/ 387 h 418"/>
                <a:gd name="T6" fmla="*/ 159 w 321"/>
                <a:gd name="T7" fmla="*/ 413 h 418"/>
                <a:gd name="T8" fmla="*/ 3 w 321"/>
                <a:gd name="T9" fmla="*/ 410 h 418"/>
                <a:gd name="T10" fmla="*/ 0 w 321"/>
                <a:gd name="T11" fmla="*/ 407 h 418"/>
                <a:gd name="T12" fmla="*/ 0 w 321"/>
                <a:gd name="T13" fmla="*/ 8 h 418"/>
                <a:gd name="T14" fmla="*/ 77 w 321"/>
                <a:gd name="T15" fmla="*/ 2 h 418"/>
                <a:gd name="T16" fmla="*/ 193 w 321"/>
                <a:gd name="T17" fmla="*/ 8 h 418"/>
                <a:gd name="T18" fmla="*/ 262 w 321"/>
                <a:gd name="T19" fmla="*/ 41 h 418"/>
                <a:gd name="T20" fmla="*/ 241 w 321"/>
                <a:gd name="T21" fmla="*/ 182 h 418"/>
                <a:gd name="T22" fmla="*/ 223 w 321"/>
                <a:gd name="T23" fmla="*/ 190 h 418"/>
                <a:gd name="T24" fmla="*/ 93 w 321"/>
                <a:gd name="T25" fmla="*/ 346 h 418"/>
                <a:gd name="T26" fmla="*/ 159 w 321"/>
                <a:gd name="T27" fmla="*/ 341 h 418"/>
                <a:gd name="T28" fmla="*/ 203 w 321"/>
                <a:gd name="T29" fmla="*/ 287 h 418"/>
                <a:gd name="T30" fmla="*/ 159 w 321"/>
                <a:gd name="T31" fmla="*/ 236 h 418"/>
                <a:gd name="T32" fmla="*/ 93 w 321"/>
                <a:gd name="T33" fmla="*/ 228 h 418"/>
                <a:gd name="T34" fmla="*/ 93 w 321"/>
                <a:gd name="T35" fmla="*/ 346 h 418"/>
                <a:gd name="T36" fmla="*/ 93 w 321"/>
                <a:gd name="T37" fmla="*/ 72 h 418"/>
                <a:gd name="T38" fmla="*/ 93 w 321"/>
                <a:gd name="T39" fmla="*/ 164 h 418"/>
                <a:gd name="T40" fmla="*/ 126 w 321"/>
                <a:gd name="T41" fmla="*/ 164 h 418"/>
                <a:gd name="T42" fmla="*/ 167 w 321"/>
                <a:gd name="T43" fmla="*/ 156 h 418"/>
                <a:gd name="T44" fmla="*/ 193 w 321"/>
                <a:gd name="T45" fmla="*/ 110 h 418"/>
                <a:gd name="T46" fmla="*/ 159 w 321"/>
                <a:gd name="T47" fmla="*/ 72 h 418"/>
                <a:gd name="T48" fmla="*/ 93 w 321"/>
                <a:gd name="T49" fmla="*/ 72 h 4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321" h="418">
                  <a:moveTo>
                    <a:pt x="223" y="190"/>
                  </a:moveTo>
                  <a:cubicBezTo>
                    <a:pt x="236" y="197"/>
                    <a:pt x="252" y="205"/>
                    <a:pt x="264" y="213"/>
                  </a:cubicBezTo>
                  <a:cubicBezTo>
                    <a:pt x="321" y="259"/>
                    <a:pt x="311" y="348"/>
                    <a:pt x="246" y="387"/>
                  </a:cubicBezTo>
                  <a:cubicBezTo>
                    <a:pt x="221" y="402"/>
                    <a:pt x="190" y="410"/>
                    <a:pt x="159" y="413"/>
                  </a:cubicBezTo>
                  <a:cubicBezTo>
                    <a:pt x="108" y="418"/>
                    <a:pt x="57" y="415"/>
                    <a:pt x="3" y="410"/>
                  </a:cubicBezTo>
                  <a:cubicBezTo>
                    <a:pt x="3" y="410"/>
                    <a:pt x="0" y="410"/>
                    <a:pt x="0" y="407"/>
                  </a:cubicBezTo>
                  <a:cubicBezTo>
                    <a:pt x="0" y="277"/>
                    <a:pt x="0" y="143"/>
                    <a:pt x="0" y="8"/>
                  </a:cubicBezTo>
                  <a:cubicBezTo>
                    <a:pt x="26" y="5"/>
                    <a:pt x="52" y="2"/>
                    <a:pt x="77" y="2"/>
                  </a:cubicBezTo>
                  <a:cubicBezTo>
                    <a:pt x="116" y="0"/>
                    <a:pt x="154" y="0"/>
                    <a:pt x="193" y="8"/>
                  </a:cubicBezTo>
                  <a:cubicBezTo>
                    <a:pt x="218" y="13"/>
                    <a:pt x="244" y="23"/>
                    <a:pt x="262" y="41"/>
                  </a:cubicBezTo>
                  <a:cubicBezTo>
                    <a:pt x="303" y="84"/>
                    <a:pt x="293" y="151"/>
                    <a:pt x="241" y="182"/>
                  </a:cubicBezTo>
                  <a:cubicBezTo>
                    <a:pt x="234" y="184"/>
                    <a:pt x="229" y="187"/>
                    <a:pt x="223" y="190"/>
                  </a:cubicBezTo>
                  <a:close/>
                  <a:moveTo>
                    <a:pt x="93" y="346"/>
                  </a:moveTo>
                  <a:cubicBezTo>
                    <a:pt x="116" y="346"/>
                    <a:pt x="136" y="348"/>
                    <a:pt x="159" y="341"/>
                  </a:cubicBezTo>
                  <a:cubicBezTo>
                    <a:pt x="188" y="333"/>
                    <a:pt x="203" y="315"/>
                    <a:pt x="203" y="287"/>
                  </a:cubicBezTo>
                  <a:cubicBezTo>
                    <a:pt x="203" y="261"/>
                    <a:pt x="190" y="243"/>
                    <a:pt x="159" y="236"/>
                  </a:cubicBezTo>
                  <a:cubicBezTo>
                    <a:pt x="139" y="231"/>
                    <a:pt x="116" y="231"/>
                    <a:pt x="93" y="228"/>
                  </a:cubicBezTo>
                  <a:cubicBezTo>
                    <a:pt x="93" y="269"/>
                    <a:pt x="93" y="307"/>
                    <a:pt x="93" y="346"/>
                  </a:cubicBezTo>
                  <a:close/>
                  <a:moveTo>
                    <a:pt x="93" y="72"/>
                  </a:moveTo>
                  <a:cubicBezTo>
                    <a:pt x="93" y="102"/>
                    <a:pt x="93" y="133"/>
                    <a:pt x="93" y="164"/>
                  </a:cubicBezTo>
                  <a:cubicBezTo>
                    <a:pt x="103" y="164"/>
                    <a:pt x="116" y="166"/>
                    <a:pt x="126" y="164"/>
                  </a:cubicBezTo>
                  <a:cubicBezTo>
                    <a:pt x="141" y="161"/>
                    <a:pt x="154" y="161"/>
                    <a:pt x="167" y="156"/>
                  </a:cubicBezTo>
                  <a:cubicBezTo>
                    <a:pt x="188" y="146"/>
                    <a:pt x="195" y="131"/>
                    <a:pt x="193" y="110"/>
                  </a:cubicBezTo>
                  <a:cubicBezTo>
                    <a:pt x="193" y="92"/>
                    <a:pt x="180" y="77"/>
                    <a:pt x="159" y="72"/>
                  </a:cubicBezTo>
                  <a:cubicBezTo>
                    <a:pt x="136" y="66"/>
                    <a:pt x="116" y="69"/>
                    <a:pt x="93" y="72"/>
                  </a:cubicBezTo>
                  <a:close/>
                </a:path>
              </a:pathLst>
            </a:custGeom>
            <a:solidFill>
              <a:srgbClr val="22419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4" name="Freeform 17"/>
            <p:cNvSpPr>
              <a:spLocks noEditPoints="1"/>
            </p:cNvSpPr>
            <p:nvPr/>
          </p:nvSpPr>
          <p:spPr bwMode="auto">
            <a:xfrm>
              <a:off x="361" y="3969"/>
              <a:ext cx="65" cy="71"/>
            </a:xfrm>
            <a:custGeom>
              <a:avLst/>
              <a:gdLst>
                <a:gd name="T0" fmla="*/ 197 w 400"/>
                <a:gd name="T1" fmla="*/ 423 h 423"/>
                <a:gd name="T2" fmla="*/ 8 w 400"/>
                <a:gd name="T3" fmla="*/ 259 h 423"/>
                <a:gd name="T4" fmla="*/ 26 w 400"/>
                <a:gd name="T5" fmla="*/ 113 h 423"/>
                <a:gd name="T6" fmla="*/ 213 w 400"/>
                <a:gd name="T7" fmla="*/ 2 h 423"/>
                <a:gd name="T8" fmla="*/ 395 w 400"/>
                <a:gd name="T9" fmla="*/ 184 h 423"/>
                <a:gd name="T10" fmla="*/ 372 w 400"/>
                <a:gd name="T11" fmla="*/ 320 h 423"/>
                <a:gd name="T12" fmla="*/ 203 w 400"/>
                <a:gd name="T13" fmla="*/ 423 h 423"/>
                <a:gd name="T14" fmla="*/ 197 w 400"/>
                <a:gd name="T15" fmla="*/ 423 h 423"/>
                <a:gd name="T16" fmla="*/ 103 w 400"/>
                <a:gd name="T17" fmla="*/ 210 h 423"/>
                <a:gd name="T18" fmla="*/ 121 w 400"/>
                <a:gd name="T19" fmla="*/ 297 h 423"/>
                <a:gd name="T20" fmla="*/ 200 w 400"/>
                <a:gd name="T21" fmla="*/ 348 h 423"/>
                <a:gd name="T22" fmla="*/ 280 w 400"/>
                <a:gd name="T23" fmla="*/ 297 h 423"/>
                <a:gd name="T24" fmla="*/ 297 w 400"/>
                <a:gd name="T25" fmla="*/ 200 h 423"/>
                <a:gd name="T26" fmla="*/ 269 w 400"/>
                <a:gd name="T27" fmla="*/ 113 h 423"/>
                <a:gd name="T28" fmla="*/ 133 w 400"/>
                <a:gd name="T29" fmla="*/ 110 h 423"/>
                <a:gd name="T30" fmla="*/ 103 w 400"/>
                <a:gd name="T31" fmla="*/ 210 h 4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400" h="423">
                  <a:moveTo>
                    <a:pt x="197" y="423"/>
                  </a:moveTo>
                  <a:cubicBezTo>
                    <a:pt x="98" y="423"/>
                    <a:pt x="23" y="359"/>
                    <a:pt x="8" y="259"/>
                  </a:cubicBezTo>
                  <a:cubicBezTo>
                    <a:pt x="0" y="210"/>
                    <a:pt x="5" y="159"/>
                    <a:pt x="26" y="113"/>
                  </a:cubicBezTo>
                  <a:cubicBezTo>
                    <a:pt x="59" y="38"/>
                    <a:pt x="131" y="0"/>
                    <a:pt x="213" y="2"/>
                  </a:cubicBezTo>
                  <a:cubicBezTo>
                    <a:pt x="323" y="7"/>
                    <a:pt x="387" y="87"/>
                    <a:pt x="395" y="184"/>
                  </a:cubicBezTo>
                  <a:cubicBezTo>
                    <a:pt x="400" y="230"/>
                    <a:pt x="395" y="279"/>
                    <a:pt x="372" y="320"/>
                  </a:cubicBezTo>
                  <a:cubicBezTo>
                    <a:pt x="336" y="389"/>
                    <a:pt x="277" y="420"/>
                    <a:pt x="203" y="423"/>
                  </a:cubicBezTo>
                  <a:cubicBezTo>
                    <a:pt x="200" y="423"/>
                    <a:pt x="200" y="423"/>
                    <a:pt x="197" y="423"/>
                  </a:cubicBezTo>
                  <a:close/>
                  <a:moveTo>
                    <a:pt x="103" y="210"/>
                  </a:moveTo>
                  <a:cubicBezTo>
                    <a:pt x="103" y="243"/>
                    <a:pt x="108" y="271"/>
                    <a:pt x="121" y="297"/>
                  </a:cubicBezTo>
                  <a:cubicBezTo>
                    <a:pt x="139" y="330"/>
                    <a:pt x="164" y="348"/>
                    <a:pt x="200" y="348"/>
                  </a:cubicBezTo>
                  <a:cubicBezTo>
                    <a:pt x="239" y="348"/>
                    <a:pt x="264" y="330"/>
                    <a:pt x="280" y="297"/>
                  </a:cubicBezTo>
                  <a:cubicBezTo>
                    <a:pt x="295" y="266"/>
                    <a:pt x="300" y="233"/>
                    <a:pt x="297" y="200"/>
                  </a:cubicBezTo>
                  <a:cubicBezTo>
                    <a:pt x="297" y="169"/>
                    <a:pt x="290" y="138"/>
                    <a:pt x="269" y="113"/>
                  </a:cubicBezTo>
                  <a:cubicBezTo>
                    <a:pt x="236" y="64"/>
                    <a:pt x="169" y="64"/>
                    <a:pt x="133" y="110"/>
                  </a:cubicBezTo>
                  <a:cubicBezTo>
                    <a:pt x="110" y="141"/>
                    <a:pt x="103" y="177"/>
                    <a:pt x="103" y="210"/>
                  </a:cubicBezTo>
                  <a:close/>
                </a:path>
              </a:pathLst>
            </a:custGeom>
            <a:solidFill>
              <a:srgbClr val="22419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5" name="Freeform 18"/>
            <p:cNvSpPr>
              <a:spLocks/>
            </p:cNvSpPr>
            <p:nvPr/>
          </p:nvSpPr>
          <p:spPr bwMode="auto">
            <a:xfrm>
              <a:off x="475" y="3969"/>
              <a:ext cx="52" cy="71"/>
            </a:xfrm>
            <a:custGeom>
              <a:avLst/>
              <a:gdLst>
                <a:gd name="T0" fmla="*/ 18 w 315"/>
                <a:gd name="T1" fmla="*/ 395 h 423"/>
                <a:gd name="T2" fmla="*/ 36 w 315"/>
                <a:gd name="T3" fmla="*/ 321 h 423"/>
                <a:gd name="T4" fmla="*/ 90 w 315"/>
                <a:gd name="T5" fmla="*/ 336 h 423"/>
                <a:gd name="T6" fmla="*/ 166 w 315"/>
                <a:gd name="T7" fmla="*/ 341 h 423"/>
                <a:gd name="T8" fmla="*/ 202 w 315"/>
                <a:gd name="T9" fmla="*/ 295 h 423"/>
                <a:gd name="T10" fmla="*/ 182 w 315"/>
                <a:gd name="T11" fmla="*/ 267 h 423"/>
                <a:gd name="T12" fmla="*/ 138 w 315"/>
                <a:gd name="T13" fmla="*/ 244 h 423"/>
                <a:gd name="T14" fmla="*/ 74 w 315"/>
                <a:gd name="T15" fmla="*/ 213 h 423"/>
                <a:gd name="T16" fmla="*/ 79 w 315"/>
                <a:gd name="T17" fmla="*/ 23 h 423"/>
                <a:gd name="T18" fmla="*/ 169 w 315"/>
                <a:gd name="T19" fmla="*/ 0 h 423"/>
                <a:gd name="T20" fmla="*/ 274 w 315"/>
                <a:gd name="T21" fmla="*/ 18 h 423"/>
                <a:gd name="T22" fmla="*/ 282 w 315"/>
                <a:gd name="T23" fmla="*/ 21 h 423"/>
                <a:gd name="T24" fmla="*/ 261 w 315"/>
                <a:gd name="T25" fmla="*/ 95 h 423"/>
                <a:gd name="T26" fmla="*/ 218 w 315"/>
                <a:gd name="T27" fmla="*/ 82 h 423"/>
                <a:gd name="T28" fmla="*/ 148 w 315"/>
                <a:gd name="T29" fmla="*/ 80 h 423"/>
                <a:gd name="T30" fmla="*/ 120 w 315"/>
                <a:gd name="T31" fmla="*/ 126 h 423"/>
                <a:gd name="T32" fmla="*/ 141 w 315"/>
                <a:gd name="T33" fmla="*/ 149 h 423"/>
                <a:gd name="T34" fmla="*/ 197 w 315"/>
                <a:gd name="T35" fmla="*/ 175 h 423"/>
                <a:gd name="T36" fmla="*/ 261 w 315"/>
                <a:gd name="T37" fmla="*/ 210 h 423"/>
                <a:gd name="T38" fmla="*/ 251 w 315"/>
                <a:gd name="T39" fmla="*/ 387 h 423"/>
                <a:gd name="T40" fmla="*/ 161 w 315"/>
                <a:gd name="T41" fmla="*/ 418 h 423"/>
                <a:gd name="T42" fmla="*/ 28 w 315"/>
                <a:gd name="T43" fmla="*/ 400 h 423"/>
                <a:gd name="T44" fmla="*/ 18 w 315"/>
                <a:gd name="T45" fmla="*/ 395 h 4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5" h="423">
                  <a:moveTo>
                    <a:pt x="18" y="395"/>
                  </a:moveTo>
                  <a:cubicBezTo>
                    <a:pt x="25" y="369"/>
                    <a:pt x="31" y="344"/>
                    <a:pt x="36" y="321"/>
                  </a:cubicBezTo>
                  <a:cubicBezTo>
                    <a:pt x="54" y="326"/>
                    <a:pt x="72" y="334"/>
                    <a:pt x="90" y="336"/>
                  </a:cubicBezTo>
                  <a:cubicBezTo>
                    <a:pt x="115" y="344"/>
                    <a:pt x="141" y="346"/>
                    <a:pt x="166" y="341"/>
                  </a:cubicBezTo>
                  <a:cubicBezTo>
                    <a:pt x="192" y="334"/>
                    <a:pt x="205" y="318"/>
                    <a:pt x="202" y="295"/>
                  </a:cubicBezTo>
                  <a:cubicBezTo>
                    <a:pt x="202" y="282"/>
                    <a:pt x="195" y="272"/>
                    <a:pt x="182" y="267"/>
                  </a:cubicBezTo>
                  <a:cubicBezTo>
                    <a:pt x="169" y="257"/>
                    <a:pt x="154" y="251"/>
                    <a:pt x="138" y="244"/>
                  </a:cubicBezTo>
                  <a:cubicBezTo>
                    <a:pt x="115" y="234"/>
                    <a:pt x="95" y="226"/>
                    <a:pt x="74" y="213"/>
                  </a:cubicBezTo>
                  <a:cubicBezTo>
                    <a:pt x="0" y="164"/>
                    <a:pt x="13" y="64"/>
                    <a:pt x="79" y="23"/>
                  </a:cubicBezTo>
                  <a:cubicBezTo>
                    <a:pt x="107" y="8"/>
                    <a:pt x="138" y="0"/>
                    <a:pt x="169" y="0"/>
                  </a:cubicBezTo>
                  <a:cubicBezTo>
                    <a:pt x="205" y="0"/>
                    <a:pt x="241" y="3"/>
                    <a:pt x="274" y="18"/>
                  </a:cubicBezTo>
                  <a:cubicBezTo>
                    <a:pt x="277" y="18"/>
                    <a:pt x="279" y="21"/>
                    <a:pt x="282" y="21"/>
                  </a:cubicBezTo>
                  <a:cubicBezTo>
                    <a:pt x="274" y="46"/>
                    <a:pt x="269" y="69"/>
                    <a:pt x="261" y="95"/>
                  </a:cubicBezTo>
                  <a:cubicBezTo>
                    <a:pt x="246" y="90"/>
                    <a:pt x="233" y="85"/>
                    <a:pt x="218" y="82"/>
                  </a:cubicBezTo>
                  <a:cubicBezTo>
                    <a:pt x="195" y="75"/>
                    <a:pt x="172" y="75"/>
                    <a:pt x="148" y="80"/>
                  </a:cubicBezTo>
                  <a:cubicBezTo>
                    <a:pt x="125" y="87"/>
                    <a:pt x="110" y="105"/>
                    <a:pt x="120" y="126"/>
                  </a:cubicBezTo>
                  <a:cubicBezTo>
                    <a:pt x="123" y="134"/>
                    <a:pt x="133" y="144"/>
                    <a:pt x="141" y="149"/>
                  </a:cubicBezTo>
                  <a:cubicBezTo>
                    <a:pt x="159" y="159"/>
                    <a:pt x="179" y="167"/>
                    <a:pt x="197" y="175"/>
                  </a:cubicBezTo>
                  <a:cubicBezTo>
                    <a:pt x="220" y="182"/>
                    <a:pt x="243" y="195"/>
                    <a:pt x="261" y="210"/>
                  </a:cubicBezTo>
                  <a:cubicBezTo>
                    <a:pt x="315" y="257"/>
                    <a:pt x="310" y="344"/>
                    <a:pt x="251" y="387"/>
                  </a:cubicBezTo>
                  <a:cubicBezTo>
                    <a:pt x="225" y="408"/>
                    <a:pt x="195" y="416"/>
                    <a:pt x="161" y="418"/>
                  </a:cubicBezTo>
                  <a:cubicBezTo>
                    <a:pt x="115" y="423"/>
                    <a:pt x="72" y="418"/>
                    <a:pt x="28" y="400"/>
                  </a:cubicBezTo>
                  <a:cubicBezTo>
                    <a:pt x="25" y="398"/>
                    <a:pt x="23" y="398"/>
                    <a:pt x="18" y="395"/>
                  </a:cubicBezTo>
                  <a:close/>
                </a:path>
              </a:pathLst>
            </a:custGeom>
            <a:solidFill>
              <a:srgbClr val="22419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6" name="Freeform 19"/>
            <p:cNvSpPr>
              <a:spLocks/>
            </p:cNvSpPr>
            <p:nvPr/>
          </p:nvSpPr>
          <p:spPr bwMode="auto">
            <a:xfrm>
              <a:off x="456" y="3875"/>
              <a:ext cx="19" cy="82"/>
            </a:xfrm>
            <a:custGeom>
              <a:avLst/>
              <a:gdLst>
                <a:gd name="T0" fmla="*/ 110 w 110"/>
                <a:gd name="T1" fmla="*/ 0 h 492"/>
                <a:gd name="T2" fmla="*/ 110 w 110"/>
                <a:gd name="T3" fmla="*/ 492 h 492"/>
                <a:gd name="T4" fmla="*/ 0 w 110"/>
                <a:gd name="T5" fmla="*/ 492 h 492"/>
                <a:gd name="T6" fmla="*/ 0 w 110"/>
                <a:gd name="T7" fmla="*/ 0 h 492"/>
                <a:gd name="T8" fmla="*/ 110 w 110"/>
                <a:gd name="T9" fmla="*/ 0 h 4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0" h="492">
                  <a:moveTo>
                    <a:pt x="110" y="0"/>
                  </a:moveTo>
                  <a:cubicBezTo>
                    <a:pt x="110" y="166"/>
                    <a:pt x="110" y="328"/>
                    <a:pt x="110" y="492"/>
                  </a:cubicBezTo>
                  <a:cubicBezTo>
                    <a:pt x="74" y="492"/>
                    <a:pt x="36" y="492"/>
                    <a:pt x="0" y="492"/>
                  </a:cubicBezTo>
                  <a:cubicBezTo>
                    <a:pt x="0" y="328"/>
                    <a:pt x="0" y="164"/>
                    <a:pt x="0" y="0"/>
                  </a:cubicBezTo>
                  <a:cubicBezTo>
                    <a:pt x="36" y="0"/>
                    <a:pt x="74" y="0"/>
                    <a:pt x="110" y="0"/>
                  </a:cubicBezTo>
                  <a:close/>
                </a:path>
              </a:pathLst>
            </a:custGeom>
            <a:solidFill>
              <a:srgbClr val="EC1D2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7" name="Freeform 20"/>
            <p:cNvSpPr>
              <a:spLocks/>
            </p:cNvSpPr>
            <p:nvPr/>
          </p:nvSpPr>
          <p:spPr bwMode="auto">
            <a:xfrm>
              <a:off x="323" y="3971"/>
              <a:ext cx="35" cy="69"/>
            </a:xfrm>
            <a:custGeom>
              <a:avLst/>
              <a:gdLst>
                <a:gd name="T0" fmla="*/ 0 w 212"/>
                <a:gd name="T1" fmla="*/ 402 h 415"/>
                <a:gd name="T2" fmla="*/ 10 w 212"/>
                <a:gd name="T3" fmla="*/ 331 h 415"/>
                <a:gd name="T4" fmla="*/ 61 w 212"/>
                <a:gd name="T5" fmla="*/ 336 h 415"/>
                <a:gd name="T6" fmla="*/ 117 w 212"/>
                <a:gd name="T7" fmla="*/ 285 h 415"/>
                <a:gd name="T8" fmla="*/ 120 w 212"/>
                <a:gd name="T9" fmla="*/ 249 h 415"/>
                <a:gd name="T10" fmla="*/ 120 w 212"/>
                <a:gd name="T11" fmla="*/ 13 h 415"/>
                <a:gd name="T12" fmla="*/ 120 w 212"/>
                <a:gd name="T13" fmla="*/ 0 h 415"/>
                <a:gd name="T14" fmla="*/ 212 w 212"/>
                <a:gd name="T15" fmla="*/ 0 h 415"/>
                <a:gd name="T16" fmla="*/ 212 w 212"/>
                <a:gd name="T17" fmla="*/ 10 h 415"/>
                <a:gd name="T18" fmla="*/ 212 w 212"/>
                <a:gd name="T19" fmla="*/ 261 h 415"/>
                <a:gd name="T20" fmla="*/ 202 w 212"/>
                <a:gd name="T21" fmla="*/ 331 h 415"/>
                <a:gd name="T22" fmla="*/ 123 w 212"/>
                <a:gd name="T23" fmla="*/ 405 h 415"/>
                <a:gd name="T24" fmla="*/ 0 w 212"/>
                <a:gd name="T25" fmla="*/ 402 h 4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12" h="415">
                  <a:moveTo>
                    <a:pt x="0" y="402"/>
                  </a:moveTo>
                  <a:cubicBezTo>
                    <a:pt x="5" y="377"/>
                    <a:pt x="7" y="354"/>
                    <a:pt x="10" y="331"/>
                  </a:cubicBezTo>
                  <a:cubicBezTo>
                    <a:pt x="28" y="331"/>
                    <a:pt x="43" y="333"/>
                    <a:pt x="61" y="336"/>
                  </a:cubicBezTo>
                  <a:cubicBezTo>
                    <a:pt x="94" y="336"/>
                    <a:pt x="112" y="318"/>
                    <a:pt x="117" y="285"/>
                  </a:cubicBezTo>
                  <a:cubicBezTo>
                    <a:pt x="120" y="272"/>
                    <a:pt x="120" y="259"/>
                    <a:pt x="120" y="249"/>
                  </a:cubicBezTo>
                  <a:cubicBezTo>
                    <a:pt x="120" y="169"/>
                    <a:pt x="120" y="90"/>
                    <a:pt x="120" y="13"/>
                  </a:cubicBezTo>
                  <a:cubicBezTo>
                    <a:pt x="120" y="8"/>
                    <a:pt x="120" y="5"/>
                    <a:pt x="120" y="0"/>
                  </a:cubicBezTo>
                  <a:cubicBezTo>
                    <a:pt x="151" y="0"/>
                    <a:pt x="182" y="0"/>
                    <a:pt x="212" y="0"/>
                  </a:cubicBezTo>
                  <a:cubicBezTo>
                    <a:pt x="212" y="3"/>
                    <a:pt x="212" y="8"/>
                    <a:pt x="212" y="10"/>
                  </a:cubicBezTo>
                  <a:cubicBezTo>
                    <a:pt x="212" y="95"/>
                    <a:pt x="212" y="177"/>
                    <a:pt x="212" y="261"/>
                  </a:cubicBezTo>
                  <a:cubicBezTo>
                    <a:pt x="212" y="285"/>
                    <a:pt x="207" y="308"/>
                    <a:pt x="202" y="331"/>
                  </a:cubicBezTo>
                  <a:cubicBezTo>
                    <a:pt x="189" y="369"/>
                    <a:pt x="164" y="395"/>
                    <a:pt x="123" y="405"/>
                  </a:cubicBezTo>
                  <a:cubicBezTo>
                    <a:pt x="82" y="415"/>
                    <a:pt x="43" y="413"/>
                    <a:pt x="0" y="402"/>
                  </a:cubicBezTo>
                  <a:close/>
                </a:path>
              </a:pathLst>
            </a:custGeom>
            <a:solidFill>
              <a:srgbClr val="22419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8" name="Freeform 21"/>
            <p:cNvSpPr>
              <a:spLocks/>
            </p:cNvSpPr>
            <p:nvPr/>
          </p:nvSpPr>
          <p:spPr bwMode="auto">
            <a:xfrm>
              <a:off x="554" y="3820"/>
              <a:ext cx="28" cy="36"/>
            </a:xfrm>
            <a:custGeom>
              <a:avLst/>
              <a:gdLst>
                <a:gd name="T0" fmla="*/ 36 w 169"/>
                <a:gd name="T1" fmla="*/ 56 h 218"/>
                <a:gd name="T2" fmla="*/ 36 w 169"/>
                <a:gd name="T3" fmla="*/ 218 h 218"/>
                <a:gd name="T4" fmla="*/ 0 w 169"/>
                <a:gd name="T5" fmla="*/ 218 h 218"/>
                <a:gd name="T6" fmla="*/ 0 w 169"/>
                <a:gd name="T7" fmla="*/ 0 h 218"/>
                <a:gd name="T8" fmla="*/ 41 w 169"/>
                <a:gd name="T9" fmla="*/ 0 h 218"/>
                <a:gd name="T10" fmla="*/ 49 w 169"/>
                <a:gd name="T11" fmla="*/ 8 h 218"/>
                <a:gd name="T12" fmla="*/ 133 w 169"/>
                <a:gd name="T13" fmla="*/ 156 h 218"/>
                <a:gd name="T14" fmla="*/ 133 w 169"/>
                <a:gd name="T15" fmla="*/ 156 h 218"/>
                <a:gd name="T16" fmla="*/ 133 w 169"/>
                <a:gd name="T17" fmla="*/ 3 h 218"/>
                <a:gd name="T18" fmla="*/ 169 w 169"/>
                <a:gd name="T19" fmla="*/ 3 h 218"/>
                <a:gd name="T20" fmla="*/ 169 w 169"/>
                <a:gd name="T21" fmla="*/ 218 h 218"/>
                <a:gd name="T22" fmla="*/ 133 w 169"/>
                <a:gd name="T23" fmla="*/ 218 h 218"/>
                <a:gd name="T24" fmla="*/ 126 w 169"/>
                <a:gd name="T25" fmla="*/ 210 h 218"/>
                <a:gd name="T26" fmla="*/ 36 w 169"/>
                <a:gd name="T27" fmla="*/ 56 h 2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69" h="218">
                  <a:moveTo>
                    <a:pt x="36" y="56"/>
                  </a:moveTo>
                  <a:cubicBezTo>
                    <a:pt x="36" y="108"/>
                    <a:pt x="36" y="162"/>
                    <a:pt x="36" y="218"/>
                  </a:cubicBezTo>
                  <a:cubicBezTo>
                    <a:pt x="23" y="218"/>
                    <a:pt x="13" y="218"/>
                    <a:pt x="0" y="218"/>
                  </a:cubicBezTo>
                  <a:cubicBezTo>
                    <a:pt x="0" y="146"/>
                    <a:pt x="0" y="74"/>
                    <a:pt x="0" y="0"/>
                  </a:cubicBezTo>
                  <a:cubicBezTo>
                    <a:pt x="13" y="0"/>
                    <a:pt x="28" y="0"/>
                    <a:pt x="41" y="0"/>
                  </a:cubicBezTo>
                  <a:cubicBezTo>
                    <a:pt x="44" y="3"/>
                    <a:pt x="46" y="5"/>
                    <a:pt x="49" y="8"/>
                  </a:cubicBezTo>
                  <a:cubicBezTo>
                    <a:pt x="77" y="59"/>
                    <a:pt x="105" y="108"/>
                    <a:pt x="133" y="156"/>
                  </a:cubicBezTo>
                  <a:cubicBezTo>
                    <a:pt x="133" y="156"/>
                    <a:pt x="133" y="156"/>
                    <a:pt x="133" y="156"/>
                  </a:cubicBezTo>
                  <a:cubicBezTo>
                    <a:pt x="133" y="105"/>
                    <a:pt x="133" y="54"/>
                    <a:pt x="133" y="3"/>
                  </a:cubicBezTo>
                  <a:cubicBezTo>
                    <a:pt x="146" y="3"/>
                    <a:pt x="157" y="3"/>
                    <a:pt x="169" y="3"/>
                  </a:cubicBezTo>
                  <a:cubicBezTo>
                    <a:pt x="169" y="72"/>
                    <a:pt x="169" y="144"/>
                    <a:pt x="169" y="218"/>
                  </a:cubicBezTo>
                  <a:cubicBezTo>
                    <a:pt x="157" y="218"/>
                    <a:pt x="146" y="218"/>
                    <a:pt x="133" y="218"/>
                  </a:cubicBezTo>
                  <a:cubicBezTo>
                    <a:pt x="131" y="218"/>
                    <a:pt x="126" y="213"/>
                    <a:pt x="126" y="210"/>
                  </a:cubicBezTo>
                  <a:cubicBezTo>
                    <a:pt x="95" y="159"/>
                    <a:pt x="64" y="108"/>
                    <a:pt x="36" y="56"/>
                  </a:cubicBezTo>
                  <a:close/>
                </a:path>
              </a:pathLst>
            </a:custGeom>
            <a:solidFill>
              <a:srgbClr val="22419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9" name="Freeform 22"/>
            <p:cNvSpPr>
              <a:spLocks/>
            </p:cNvSpPr>
            <p:nvPr/>
          </p:nvSpPr>
          <p:spPr bwMode="auto">
            <a:xfrm>
              <a:off x="448" y="3820"/>
              <a:ext cx="28" cy="36"/>
            </a:xfrm>
            <a:custGeom>
              <a:avLst/>
              <a:gdLst>
                <a:gd name="T0" fmla="*/ 33 w 169"/>
                <a:gd name="T1" fmla="*/ 218 h 218"/>
                <a:gd name="T2" fmla="*/ 0 w 169"/>
                <a:gd name="T3" fmla="*/ 218 h 218"/>
                <a:gd name="T4" fmla="*/ 0 w 169"/>
                <a:gd name="T5" fmla="*/ 0 h 218"/>
                <a:gd name="T6" fmla="*/ 41 w 169"/>
                <a:gd name="T7" fmla="*/ 0 h 218"/>
                <a:gd name="T8" fmla="*/ 48 w 169"/>
                <a:gd name="T9" fmla="*/ 8 h 218"/>
                <a:gd name="T10" fmla="*/ 133 w 169"/>
                <a:gd name="T11" fmla="*/ 154 h 218"/>
                <a:gd name="T12" fmla="*/ 133 w 169"/>
                <a:gd name="T13" fmla="*/ 3 h 218"/>
                <a:gd name="T14" fmla="*/ 169 w 169"/>
                <a:gd name="T15" fmla="*/ 3 h 218"/>
                <a:gd name="T16" fmla="*/ 169 w 169"/>
                <a:gd name="T17" fmla="*/ 218 h 218"/>
                <a:gd name="T18" fmla="*/ 130 w 169"/>
                <a:gd name="T19" fmla="*/ 218 h 218"/>
                <a:gd name="T20" fmla="*/ 125 w 169"/>
                <a:gd name="T21" fmla="*/ 210 h 218"/>
                <a:gd name="T22" fmla="*/ 33 w 169"/>
                <a:gd name="T23" fmla="*/ 56 h 218"/>
                <a:gd name="T24" fmla="*/ 33 w 169"/>
                <a:gd name="T25" fmla="*/ 218 h 2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69" h="218">
                  <a:moveTo>
                    <a:pt x="33" y="218"/>
                  </a:moveTo>
                  <a:cubicBezTo>
                    <a:pt x="23" y="218"/>
                    <a:pt x="10" y="218"/>
                    <a:pt x="0" y="218"/>
                  </a:cubicBezTo>
                  <a:cubicBezTo>
                    <a:pt x="0" y="146"/>
                    <a:pt x="0" y="74"/>
                    <a:pt x="0" y="0"/>
                  </a:cubicBezTo>
                  <a:cubicBezTo>
                    <a:pt x="13" y="0"/>
                    <a:pt x="25" y="0"/>
                    <a:pt x="41" y="0"/>
                  </a:cubicBezTo>
                  <a:cubicBezTo>
                    <a:pt x="43" y="3"/>
                    <a:pt x="46" y="5"/>
                    <a:pt x="48" y="8"/>
                  </a:cubicBezTo>
                  <a:cubicBezTo>
                    <a:pt x="77" y="59"/>
                    <a:pt x="107" y="108"/>
                    <a:pt x="133" y="154"/>
                  </a:cubicBezTo>
                  <a:cubicBezTo>
                    <a:pt x="133" y="108"/>
                    <a:pt x="133" y="54"/>
                    <a:pt x="133" y="3"/>
                  </a:cubicBezTo>
                  <a:cubicBezTo>
                    <a:pt x="146" y="3"/>
                    <a:pt x="156" y="3"/>
                    <a:pt x="169" y="3"/>
                  </a:cubicBezTo>
                  <a:cubicBezTo>
                    <a:pt x="169" y="74"/>
                    <a:pt x="169" y="144"/>
                    <a:pt x="169" y="218"/>
                  </a:cubicBezTo>
                  <a:cubicBezTo>
                    <a:pt x="156" y="218"/>
                    <a:pt x="143" y="218"/>
                    <a:pt x="130" y="218"/>
                  </a:cubicBezTo>
                  <a:cubicBezTo>
                    <a:pt x="128" y="218"/>
                    <a:pt x="125" y="213"/>
                    <a:pt x="125" y="210"/>
                  </a:cubicBezTo>
                  <a:cubicBezTo>
                    <a:pt x="95" y="159"/>
                    <a:pt x="64" y="105"/>
                    <a:pt x="33" y="56"/>
                  </a:cubicBezTo>
                  <a:cubicBezTo>
                    <a:pt x="33" y="108"/>
                    <a:pt x="33" y="162"/>
                    <a:pt x="33" y="218"/>
                  </a:cubicBezTo>
                  <a:close/>
                </a:path>
              </a:pathLst>
            </a:custGeom>
            <a:solidFill>
              <a:srgbClr val="22419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0" name="Freeform 23"/>
            <p:cNvSpPr>
              <a:spLocks/>
            </p:cNvSpPr>
            <p:nvPr/>
          </p:nvSpPr>
          <p:spPr bwMode="auto">
            <a:xfrm>
              <a:off x="286" y="3820"/>
              <a:ext cx="28" cy="36"/>
            </a:xfrm>
            <a:custGeom>
              <a:avLst/>
              <a:gdLst>
                <a:gd name="T0" fmla="*/ 134 w 170"/>
                <a:gd name="T1" fmla="*/ 154 h 218"/>
                <a:gd name="T2" fmla="*/ 134 w 170"/>
                <a:gd name="T3" fmla="*/ 3 h 218"/>
                <a:gd name="T4" fmla="*/ 170 w 170"/>
                <a:gd name="T5" fmla="*/ 3 h 218"/>
                <a:gd name="T6" fmla="*/ 170 w 170"/>
                <a:gd name="T7" fmla="*/ 218 h 218"/>
                <a:gd name="T8" fmla="*/ 131 w 170"/>
                <a:gd name="T9" fmla="*/ 218 h 218"/>
                <a:gd name="T10" fmla="*/ 123 w 170"/>
                <a:gd name="T11" fmla="*/ 208 h 218"/>
                <a:gd name="T12" fmla="*/ 36 w 170"/>
                <a:gd name="T13" fmla="*/ 56 h 218"/>
                <a:gd name="T14" fmla="*/ 36 w 170"/>
                <a:gd name="T15" fmla="*/ 218 h 218"/>
                <a:gd name="T16" fmla="*/ 0 w 170"/>
                <a:gd name="T17" fmla="*/ 218 h 218"/>
                <a:gd name="T18" fmla="*/ 0 w 170"/>
                <a:gd name="T19" fmla="*/ 0 h 218"/>
                <a:gd name="T20" fmla="*/ 41 w 170"/>
                <a:gd name="T21" fmla="*/ 3 h 218"/>
                <a:gd name="T22" fmla="*/ 49 w 170"/>
                <a:gd name="T23" fmla="*/ 10 h 218"/>
                <a:gd name="T24" fmla="*/ 134 w 170"/>
                <a:gd name="T25" fmla="*/ 154 h 2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70" h="218">
                  <a:moveTo>
                    <a:pt x="134" y="154"/>
                  </a:moveTo>
                  <a:cubicBezTo>
                    <a:pt x="134" y="108"/>
                    <a:pt x="134" y="54"/>
                    <a:pt x="134" y="3"/>
                  </a:cubicBezTo>
                  <a:cubicBezTo>
                    <a:pt x="146" y="3"/>
                    <a:pt x="157" y="3"/>
                    <a:pt x="170" y="3"/>
                  </a:cubicBezTo>
                  <a:cubicBezTo>
                    <a:pt x="170" y="74"/>
                    <a:pt x="170" y="144"/>
                    <a:pt x="170" y="218"/>
                  </a:cubicBezTo>
                  <a:cubicBezTo>
                    <a:pt x="157" y="218"/>
                    <a:pt x="144" y="218"/>
                    <a:pt x="131" y="218"/>
                  </a:cubicBezTo>
                  <a:cubicBezTo>
                    <a:pt x="129" y="218"/>
                    <a:pt x="126" y="213"/>
                    <a:pt x="123" y="208"/>
                  </a:cubicBezTo>
                  <a:cubicBezTo>
                    <a:pt x="93" y="159"/>
                    <a:pt x="64" y="108"/>
                    <a:pt x="36" y="56"/>
                  </a:cubicBezTo>
                  <a:cubicBezTo>
                    <a:pt x="36" y="108"/>
                    <a:pt x="36" y="162"/>
                    <a:pt x="36" y="218"/>
                  </a:cubicBezTo>
                  <a:cubicBezTo>
                    <a:pt x="23" y="218"/>
                    <a:pt x="11" y="218"/>
                    <a:pt x="0" y="218"/>
                  </a:cubicBezTo>
                  <a:cubicBezTo>
                    <a:pt x="0" y="146"/>
                    <a:pt x="0" y="74"/>
                    <a:pt x="0" y="0"/>
                  </a:cubicBezTo>
                  <a:cubicBezTo>
                    <a:pt x="13" y="0"/>
                    <a:pt x="26" y="0"/>
                    <a:pt x="41" y="3"/>
                  </a:cubicBezTo>
                  <a:cubicBezTo>
                    <a:pt x="44" y="3"/>
                    <a:pt x="47" y="5"/>
                    <a:pt x="49" y="10"/>
                  </a:cubicBezTo>
                  <a:cubicBezTo>
                    <a:pt x="77" y="59"/>
                    <a:pt x="108" y="108"/>
                    <a:pt x="134" y="154"/>
                  </a:cubicBezTo>
                  <a:close/>
                </a:path>
              </a:pathLst>
            </a:custGeom>
            <a:solidFill>
              <a:srgbClr val="22419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1" name="Freeform 24"/>
            <p:cNvSpPr>
              <a:spLocks/>
            </p:cNvSpPr>
            <p:nvPr/>
          </p:nvSpPr>
          <p:spPr bwMode="auto">
            <a:xfrm>
              <a:off x="480" y="3818"/>
              <a:ext cx="32" cy="39"/>
            </a:xfrm>
            <a:custGeom>
              <a:avLst/>
              <a:gdLst>
                <a:gd name="T0" fmla="*/ 184 w 192"/>
                <a:gd name="T1" fmla="*/ 16 h 231"/>
                <a:gd name="T2" fmla="*/ 176 w 192"/>
                <a:gd name="T3" fmla="*/ 49 h 231"/>
                <a:gd name="T4" fmla="*/ 107 w 192"/>
                <a:gd name="T5" fmla="*/ 41 h 231"/>
                <a:gd name="T6" fmla="*/ 51 w 192"/>
                <a:gd name="T7" fmla="*/ 103 h 231"/>
                <a:gd name="T8" fmla="*/ 82 w 192"/>
                <a:gd name="T9" fmla="*/ 185 h 231"/>
                <a:gd name="T10" fmla="*/ 146 w 192"/>
                <a:gd name="T11" fmla="*/ 193 h 231"/>
                <a:gd name="T12" fmla="*/ 153 w 192"/>
                <a:gd name="T13" fmla="*/ 185 h 231"/>
                <a:gd name="T14" fmla="*/ 153 w 192"/>
                <a:gd name="T15" fmla="*/ 139 h 231"/>
                <a:gd name="T16" fmla="*/ 115 w 192"/>
                <a:gd name="T17" fmla="*/ 139 h 231"/>
                <a:gd name="T18" fmla="*/ 115 w 192"/>
                <a:gd name="T19" fmla="*/ 105 h 231"/>
                <a:gd name="T20" fmla="*/ 125 w 192"/>
                <a:gd name="T21" fmla="*/ 105 h 231"/>
                <a:gd name="T22" fmla="*/ 192 w 192"/>
                <a:gd name="T23" fmla="*/ 105 h 231"/>
                <a:gd name="T24" fmla="*/ 192 w 192"/>
                <a:gd name="T25" fmla="*/ 113 h 231"/>
                <a:gd name="T26" fmla="*/ 192 w 192"/>
                <a:gd name="T27" fmla="*/ 205 h 231"/>
                <a:gd name="T28" fmla="*/ 184 w 192"/>
                <a:gd name="T29" fmla="*/ 218 h 231"/>
                <a:gd name="T30" fmla="*/ 84 w 192"/>
                <a:gd name="T31" fmla="*/ 223 h 231"/>
                <a:gd name="T32" fmla="*/ 7 w 192"/>
                <a:gd name="T33" fmla="*/ 139 h 231"/>
                <a:gd name="T34" fmla="*/ 61 w 192"/>
                <a:gd name="T35" fmla="*/ 23 h 231"/>
                <a:gd name="T36" fmla="*/ 184 w 192"/>
                <a:gd name="T37" fmla="*/ 16 h 2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92" h="231">
                  <a:moveTo>
                    <a:pt x="184" y="16"/>
                  </a:moveTo>
                  <a:cubicBezTo>
                    <a:pt x="182" y="29"/>
                    <a:pt x="179" y="39"/>
                    <a:pt x="176" y="49"/>
                  </a:cubicBezTo>
                  <a:cubicBezTo>
                    <a:pt x="153" y="41"/>
                    <a:pt x="130" y="39"/>
                    <a:pt x="107" y="41"/>
                  </a:cubicBezTo>
                  <a:cubicBezTo>
                    <a:pt x="74" y="49"/>
                    <a:pt x="53" y="70"/>
                    <a:pt x="51" y="103"/>
                  </a:cubicBezTo>
                  <a:cubicBezTo>
                    <a:pt x="46" y="136"/>
                    <a:pt x="51" y="164"/>
                    <a:pt x="82" y="185"/>
                  </a:cubicBezTo>
                  <a:cubicBezTo>
                    <a:pt x="102" y="198"/>
                    <a:pt x="125" y="198"/>
                    <a:pt x="146" y="193"/>
                  </a:cubicBezTo>
                  <a:cubicBezTo>
                    <a:pt x="148" y="193"/>
                    <a:pt x="153" y="188"/>
                    <a:pt x="153" y="185"/>
                  </a:cubicBezTo>
                  <a:cubicBezTo>
                    <a:pt x="153" y="170"/>
                    <a:pt x="153" y="154"/>
                    <a:pt x="153" y="139"/>
                  </a:cubicBezTo>
                  <a:cubicBezTo>
                    <a:pt x="141" y="139"/>
                    <a:pt x="128" y="139"/>
                    <a:pt x="115" y="139"/>
                  </a:cubicBezTo>
                  <a:cubicBezTo>
                    <a:pt x="115" y="126"/>
                    <a:pt x="115" y="116"/>
                    <a:pt x="115" y="105"/>
                  </a:cubicBezTo>
                  <a:cubicBezTo>
                    <a:pt x="120" y="105"/>
                    <a:pt x="123" y="105"/>
                    <a:pt x="125" y="105"/>
                  </a:cubicBezTo>
                  <a:cubicBezTo>
                    <a:pt x="148" y="105"/>
                    <a:pt x="169" y="105"/>
                    <a:pt x="192" y="105"/>
                  </a:cubicBezTo>
                  <a:cubicBezTo>
                    <a:pt x="192" y="108"/>
                    <a:pt x="192" y="111"/>
                    <a:pt x="192" y="113"/>
                  </a:cubicBezTo>
                  <a:cubicBezTo>
                    <a:pt x="192" y="144"/>
                    <a:pt x="192" y="175"/>
                    <a:pt x="192" y="205"/>
                  </a:cubicBezTo>
                  <a:cubicBezTo>
                    <a:pt x="192" y="213"/>
                    <a:pt x="192" y="216"/>
                    <a:pt x="184" y="218"/>
                  </a:cubicBezTo>
                  <a:cubicBezTo>
                    <a:pt x="151" y="229"/>
                    <a:pt x="117" y="231"/>
                    <a:pt x="84" y="223"/>
                  </a:cubicBezTo>
                  <a:cubicBezTo>
                    <a:pt x="41" y="213"/>
                    <a:pt x="15" y="185"/>
                    <a:pt x="7" y="139"/>
                  </a:cubicBezTo>
                  <a:cubicBezTo>
                    <a:pt x="0" y="90"/>
                    <a:pt x="20" y="44"/>
                    <a:pt x="61" y="23"/>
                  </a:cubicBezTo>
                  <a:cubicBezTo>
                    <a:pt x="100" y="0"/>
                    <a:pt x="143" y="3"/>
                    <a:pt x="184" y="16"/>
                  </a:cubicBezTo>
                  <a:close/>
                </a:path>
              </a:pathLst>
            </a:custGeom>
            <a:solidFill>
              <a:srgbClr val="22419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2" name="Freeform 25"/>
            <p:cNvSpPr>
              <a:spLocks/>
            </p:cNvSpPr>
            <p:nvPr/>
          </p:nvSpPr>
          <p:spPr bwMode="auto">
            <a:xfrm>
              <a:off x="352" y="3820"/>
              <a:ext cx="22" cy="36"/>
            </a:xfrm>
            <a:custGeom>
              <a:avLst/>
              <a:gdLst>
                <a:gd name="T0" fmla="*/ 0 w 131"/>
                <a:gd name="T1" fmla="*/ 0 h 215"/>
                <a:gd name="T2" fmla="*/ 126 w 131"/>
                <a:gd name="T3" fmla="*/ 0 h 215"/>
                <a:gd name="T4" fmla="*/ 126 w 131"/>
                <a:gd name="T5" fmla="*/ 30 h 215"/>
                <a:gd name="T6" fmla="*/ 41 w 131"/>
                <a:gd name="T7" fmla="*/ 30 h 215"/>
                <a:gd name="T8" fmla="*/ 41 w 131"/>
                <a:gd name="T9" fmla="*/ 87 h 215"/>
                <a:gd name="T10" fmla="*/ 121 w 131"/>
                <a:gd name="T11" fmla="*/ 87 h 215"/>
                <a:gd name="T12" fmla="*/ 121 w 131"/>
                <a:gd name="T13" fmla="*/ 120 h 215"/>
                <a:gd name="T14" fmla="*/ 41 w 131"/>
                <a:gd name="T15" fmla="*/ 120 h 215"/>
                <a:gd name="T16" fmla="*/ 41 w 131"/>
                <a:gd name="T17" fmla="*/ 182 h 215"/>
                <a:gd name="T18" fmla="*/ 131 w 131"/>
                <a:gd name="T19" fmla="*/ 182 h 215"/>
                <a:gd name="T20" fmla="*/ 131 w 131"/>
                <a:gd name="T21" fmla="*/ 215 h 215"/>
                <a:gd name="T22" fmla="*/ 0 w 131"/>
                <a:gd name="T23" fmla="*/ 215 h 215"/>
                <a:gd name="T24" fmla="*/ 0 w 131"/>
                <a:gd name="T25" fmla="*/ 0 h 2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31" h="215">
                  <a:moveTo>
                    <a:pt x="0" y="0"/>
                  </a:moveTo>
                  <a:cubicBezTo>
                    <a:pt x="41" y="0"/>
                    <a:pt x="85" y="0"/>
                    <a:pt x="126" y="0"/>
                  </a:cubicBezTo>
                  <a:cubicBezTo>
                    <a:pt x="126" y="10"/>
                    <a:pt x="126" y="20"/>
                    <a:pt x="126" y="30"/>
                  </a:cubicBezTo>
                  <a:cubicBezTo>
                    <a:pt x="98" y="30"/>
                    <a:pt x="70" y="30"/>
                    <a:pt x="41" y="30"/>
                  </a:cubicBezTo>
                  <a:cubicBezTo>
                    <a:pt x="41" y="48"/>
                    <a:pt x="41" y="66"/>
                    <a:pt x="41" y="87"/>
                  </a:cubicBezTo>
                  <a:cubicBezTo>
                    <a:pt x="67" y="87"/>
                    <a:pt x="93" y="87"/>
                    <a:pt x="121" y="87"/>
                  </a:cubicBezTo>
                  <a:cubicBezTo>
                    <a:pt x="121" y="97"/>
                    <a:pt x="121" y="107"/>
                    <a:pt x="121" y="120"/>
                  </a:cubicBezTo>
                  <a:cubicBezTo>
                    <a:pt x="95" y="120"/>
                    <a:pt x="67" y="120"/>
                    <a:pt x="41" y="120"/>
                  </a:cubicBezTo>
                  <a:cubicBezTo>
                    <a:pt x="41" y="141"/>
                    <a:pt x="41" y="161"/>
                    <a:pt x="41" y="182"/>
                  </a:cubicBezTo>
                  <a:cubicBezTo>
                    <a:pt x="72" y="182"/>
                    <a:pt x="100" y="182"/>
                    <a:pt x="131" y="182"/>
                  </a:cubicBezTo>
                  <a:cubicBezTo>
                    <a:pt x="131" y="192"/>
                    <a:pt x="131" y="202"/>
                    <a:pt x="131" y="215"/>
                  </a:cubicBezTo>
                  <a:cubicBezTo>
                    <a:pt x="88" y="215"/>
                    <a:pt x="44" y="215"/>
                    <a:pt x="0" y="215"/>
                  </a:cubicBezTo>
                  <a:cubicBezTo>
                    <a:pt x="0" y="143"/>
                    <a:pt x="0" y="71"/>
                    <a:pt x="0" y="0"/>
                  </a:cubicBezTo>
                  <a:close/>
                </a:path>
              </a:pathLst>
            </a:custGeom>
            <a:solidFill>
              <a:srgbClr val="22419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3" name="Freeform 26"/>
            <p:cNvSpPr>
              <a:spLocks/>
            </p:cNvSpPr>
            <p:nvPr/>
          </p:nvSpPr>
          <p:spPr bwMode="auto">
            <a:xfrm>
              <a:off x="318" y="3820"/>
              <a:ext cx="31" cy="36"/>
            </a:xfrm>
            <a:custGeom>
              <a:avLst/>
              <a:gdLst>
                <a:gd name="T0" fmla="*/ 94 w 189"/>
                <a:gd name="T1" fmla="*/ 172 h 218"/>
                <a:gd name="T2" fmla="*/ 148 w 189"/>
                <a:gd name="T3" fmla="*/ 0 h 218"/>
                <a:gd name="T4" fmla="*/ 189 w 189"/>
                <a:gd name="T5" fmla="*/ 0 h 218"/>
                <a:gd name="T6" fmla="*/ 174 w 189"/>
                <a:gd name="T7" fmla="*/ 51 h 218"/>
                <a:gd name="T8" fmla="*/ 118 w 189"/>
                <a:gd name="T9" fmla="*/ 210 h 218"/>
                <a:gd name="T10" fmla="*/ 107 w 189"/>
                <a:gd name="T11" fmla="*/ 218 h 218"/>
                <a:gd name="T12" fmla="*/ 97 w 189"/>
                <a:gd name="T13" fmla="*/ 218 h 218"/>
                <a:gd name="T14" fmla="*/ 61 w 189"/>
                <a:gd name="T15" fmla="*/ 192 h 218"/>
                <a:gd name="T16" fmla="*/ 2 w 189"/>
                <a:gd name="T17" fmla="*/ 13 h 218"/>
                <a:gd name="T18" fmla="*/ 0 w 189"/>
                <a:gd name="T19" fmla="*/ 0 h 218"/>
                <a:gd name="T20" fmla="*/ 38 w 189"/>
                <a:gd name="T21" fmla="*/ 3 h 218"/>
                <a:gd name="T22" fmla="*/ 46 w 189"/>
                <a:gd name="T23" fmla="*/ 10 h 218"/>
                <a:gd name="T24" fmla="*/ 92 w 189"/>
                <a:gd name="T25" fmla="*/ 164 h 218"/>
                <a:gd name="T26" fmla="*/ 94 w 189"/>
                <a:gd name="T27" fmla="*/ 172 h 2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89" h="218">
                  <a:moveTo>
                    <a:pt x="94" y="172"/>
                  </a:moveTo>
                  <a:cubicBezTo>
                    <a:pt x="112" y="113"/>
                    <a:pt x="130" y="56"/>
                    <a:pt x="148" y="0"/>
                  </a:cubicBezTo>
                  <a:cubicBezTo>
                    <a:pt x="161" y="0"/>
                    <a:pt x="177" y="0"/>
                    <a:pt x="189" y="0"/>
                  </a:cubicBezTo>
                  <a:cubicBezTo>
                    <a:pt x="184" y="18"/>
                    <a:pt x="179" y="33"/>
                    <a:pt x="174" y="51"/>
                  </a:cubicBezTo>
                  <a:cubicBezTo>
                    <a:pt x="156" y="103"/>
                    <a:pt x="135" y="156"/>
                    <a:pt x="118" y="210"/>
                  </a:cubicBezTo>
                  <a:cubicBezTo>
                    <a:pt x="118" y="215"/>
                    <a:pt x="115" y="218"/>
                    <a:pt x="107" y="218"/>
                  </a:cubicBezTo>
                  <a:cubicBezTo>
                    <a:pt x="105" y="218"/>
                    <a:pt x="102" y="218"/>
                    <a:pt x="97" y="218"/>
                  </a:cubicBezTo>
                  <a:cubicBezTo>
                    <a:pt x="69" y="218"/>
                    <a:pt x="69" y="218"/>
                    <a:pt x="61" y="192"/>
                  </a:cubicBezTo>
                  <a:cubicBezTo>
                    <a:pt x="43" y="131"/>
                    <a:pt x="23" y="72"/>
                    <a:pt x="2" y="13"/>
                  </a:cubicBezTo>
                  <a:cubicBezTo>
                    <a:pt x="2" y="10"/>
                    <a:pt x="2" y="5"/>
                    <a:pt x="0" y="0"/>
                  </a:cubicBezTo>
                  <a:cubicBezTo>
                    <a:pt x="12" y="0"/>
                    <a:pt x="25" y="0"/>
                    <a:pt x="38" y="3"/>
                  </a:cubicBezTo>
                  <a:cubicBezTo>
                    <a:pt x="41" y="3"/>
                    <a:pt x="46" y="5"/>
                    <a:pt x="46" y="10"/>
                  </a:cubicBezTo>
                  <a:cubicBezTo>
                    <a:pt x="61" y="62"/>
                    <a:pt x="77" y="113"/>
                    <a:pt x="92" y="164"/>
                  </a:cubicBezTo>
                  <a:cubicBezTo>
                    <a:pt x="92" y="167"/>
                    <a:pt x="92" y="169"/>
                    <a:pt x="94" y="172"/>
                  </a:cubicBezTo>
                  <a:close/>
                </a:path>
              </a:pathLst>
            </a:custGeom>
            <a:solidFill>
              <a:srgbClr val="22419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4" name="Freeform 27"/>
            <p:cNvSpPr>
              <a:spLocks/>
            </p:cNvSpPr>
            <p:nvPr/>
          </p:nvSpPr>
          <p:spPr bwMode="auto">
            <a:xfrm>
              <a:off x="377" y="3819"/>
              <a:ext cx="25" cy="38"/>
            </a:xfrm>
            <a:custGeom>
              <a:avLst/>
              <a:gdLst>
                <a:gd name="T0" fmla="*/ 5 w 149"/>
                <a:gd name="T1" fmla="*/ 213 h 231"/>
                <a:gd name="T2" fmla="*/ 13 w 149"/>
                <a:gd name="T3" fmla="*/ 182 h 231"/>
                <a:gd name="T4" fmla="*/ 67 w 149"/>
                <a:gd name="T5" fmla="*/ 192 h 231"/>
                <a:gd name="T6" fmla="*/ 80 w 149"/>
                <a:gd name="T7" fmla="*/ 192 h 231"/>
                <a:gd name="T8" fmla="*/ 105 w 149"/>
                <a:gd name="T9" fmla="*/ 169 h 231"/>
                <a:gd name="T10" fmla="*/ 90 w 149"/>
                <a:gd name="T11" fmla="*/ 138 h 231"/>
                <a:gd name="T12" fmla="*/ 64 w 149"/>
                <a:gd name="T13" fmla="*/ 128 h 231"/>
                <a:gd name="T14" fmla="*/ 28 w 149"/>
                <a:gd name="T15" fmla="*/ 105 h 231"/>
                <a:gd name="T16" fmla="*/ 28 w 149"/>
                <a:gd name="T17" fmla="*/ 20 h 231"/>
                <a:gd name="T18" fmla="*/ 110 w 149"/>
                <a:gd name="T19" fmla="*/ 5 h 231"/>
                <a:gd name="T20" fmla="*/ 139 w 149"/>
                <a:gd name="T21" fmla="*/ 13 h 231"/>
                <a:gd name="T22" fmla="*/ 128 w 149"/>
                <a:gd name="T23" fmla="*/ 44 h 231"/>
                <a:gd name="T24" fmla="*/ 82 w 149"/>
                <a:gd name="T25" fmla="*/ 36 h 231"/>
                <a:gd name="T26" fmla="*/ 62 w 149"/>
                <a:gd name="T27" fmla="*/ 41 h 231"/>
                <a:gd name="T28" fmla="*/ 56 w 149"/>
                <a:gd name="T29" fmla="*/ 79 h 231"/>
                <a:gd name="T30" fmla="*/ 87 w 149"/>
                <a:gd name="T31" fmla="*/ 95 h 231"/>
                <a:gd name="T32" fmla="*/ 115 w 149"/>
                <a:gd name="T33" fmla="*/ 108 h 231"/>
                <a:gd name="T34" fmla="*/ 146 w 149"/>
                <a:gd name="T35" fmla="*/ 167 h 231"/>
                <a:gd name="T36" fmla="*/ 110 w 149"/>
                <a:gd name="T37" fmla="*/ 218 h 231"/>
                <a:gd name="T38" fmla="*/ 5 w 149"/>
                <a:gd name="T39" fmla="*/ 213 h 2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49" h="231">
                  <a:moveTo>
                    <a:pt x="5" y="213"/>
                  </a:moveTo>
                  <a:cubicBezTo>
                    <a:pt x="8" y="200"/>
                    <a:pt x="10" y="190"/>
                    <a:pt x="13" y="182"/>
                  </a:cubicBezTo>
                  <a:cubicBezTo>
                    <a:pt x="31" y="185"/>
                    <a:pt x="49" y="190"/>
                    <a:pt x="67" y="192"/>
                  </a:cubicBezTo>
                  <a:cubicBezTo>
                    <a:pt x="72" y="192"/>
                    <a:pt x="74" y="192"/>
                    <a:pt x="80" y="192"/>
                  </a:cubicBezTo>
                  <a:cubicBezTo>
                    <a:pt x="92" y="190"/>
                    <a:pt x="103" y="179"/>
                    <a:pt x="105" y="169"/>
                  </a:cubicBezTo>
                  <a:cubicBezTo>
                    <a:pt x="108" y="156"/>
                    <a:pt x="103" y="146"/>
                    <a:pt x="90" y="138"/>
                  </a:cubicBezTo>
                  <a:cubicBezTo>
                    <a:pt x="82" y="133"/>
                    <a:pt x="72" y="131"/>
                    <a:pt x="64" y="128"/>
                  </a:cubicBezTo>
                  <a:cubicBezTo>
                    <a:pt x="51" y="120"/>
                    <a:pt x="39" y="115"/>
                    <a:pt x="28" y="105"/>
                  </a:cubicBezTo>
                  <a:cubicBezTo>
                    <a:pt x="0" y="85"/>
                    <a:pt x="3" y="44"/>
                    <a:pt x="28" y="20"/>
                  </a:cubicBezTo>
                  <a:cubicBezTo>
                    <a:pt x="54" y="0"/>
                    <a:pt x="82" y="0"/>
                    <a:pt x="110" y="5"/>
                  </a:cubicBezTo>
                  <a:cubicBezTo>
                    <a:pt x="121" y="5"/>
                    <a:pt x="128" y="10"/>
                    <a:pt x="139" y="13"/>
                  </a:cubicBezTo>
                  <a:cubicBezTo>
                    <a:pt x="133" y="26"/>
                    <a:pt x="131" y="36"/>
                    <a:pt x="128" y="44"/>
                  </a:cubicBezTo>
                  <a:cubicBezTo>
                    <a:pt x="113" y="41"/>
                    <a:pt x="97" y="38"/>
                    <a:pt x="82" y="36"/>
                  </a:cubicBezTo>
                  <a:cubicBezTo>
                    <a:pt x="77" y="36"/>
                    <a:pt x="69" y="38"/>
                    <a:pt x="62" y="41"/>
                  </a:cubicBezTo>
                  <a:cubicBezTo>
                    <a:pt x="46" y="49"/>
                    <a:pt x="44" y="69"/>
                    <a:pt x="56" y="79"/>
                  </a:cubicBezTo>
                  <a:cubicBezTo>
                    <a:pt x="67" y="85"/>
                    <a:pt x="77" y="90"/>
                    <a:pt x="87" y="95"/>
                  </a:cubicBezTo>
                  <a:cubicBezTo>
                    <a:pt x="97" y="100"/>
                    <a:pt x="105" y="102"/>
                    <a:pt x="115" y="108"/>
                  </a:cubicBezTo>
                  <a:cubicBezTo>
                    <a:pt x="139" y="120"/>
                    <a:pt x="149" y="141"/>
                    <a:pt x="146" y="167"/>
                  </a:cubicBezTo>
                  <a:cubicBezTo>
                    <a:pt x="144" y="190"/>
                    <a:pt x="131" y="208"/>
                    <a:pt x="110" y="218"/>
                  </a:cubicBezTo>
                  <a:cubicBezTo>
                    <a:pt x="80" y="231"/>
                    <a:pt x="33" y="228"/>
                    <a:pt x="5" y="213"/>
                  </a:cubicBezTo>
                  <a:close/>
                </a:path>
              </a:pathLst>
            </a:custGeom>
            <a:solidFill>
              <a:srgbClr val="22419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5" name="Freeform 28"/>
            <p:cNvSpPr>
              <a:spLocks/>
            </p:cNvSpPr>
            <p:nvPr/>
          </p:nvSpPr>
          <p:spPr bwMode="auto">
            <a:xfrm>
              <a:off x="403" y="3820"/>
              <a:ext cx="27" cy="36"/>
            </a:xfrm>
            <a:custGeom>
              <a:avLst/>
              <a:gdLst>
                <a:gd name="T0" fmla="*/ 103 w 164"/>
                <a:gd name="T1" fmla="*/ 215 h 215"/>
                <a:gd name="T2" fmla="*/ 62 w 164"/>
                <a:gd name="T3" fmla="*/ 215 h 215"/>
                <a:gd name="T4" fmla="*/ 62 w 164"/>
                <a:gd name="T5" fmla="*/ 33 h 215"/>
                <a:gd name="T6" fmla="*/ 0 w 164"/>
                <a:gd name="T7" fmla="*/ 33 h 215"/>
                <a:gd name="T8" fmla="*/ 0 w 164"/>
                <a:gd name="T9" fmla="*/ 0 h 215"/>
                <a:gd name="T10" fmla="*/ 164 w 164"/>
                <a:gd name="T11" fmla="*/ 0 h 215"/>
                <a:gd name="T12" fmla="*/ 164 w 164"/>
                <a:gd name="T13" fmla="*/ 30 h 215"/>
                <a:gd name="T14" fmla="*/ 103 w 164"/>
                <a:gd name="T15" fmla="*/ 30 h 215"/>
                <a:gd name="T16" fmla="*/ 103 w 164"/>
                <a:gd name="T17" fmla="*/ 215 h 2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4" h="215">
                  <a:moveTo>
                    <a:pt x="103" y="215"/>
                  </a:moveTo>
                  <a:cubicBezTo>
                    <a:pt x="87" y="215"/>
                    <a:pt x="74" y="215"/>
                    <a:pt x="62" y="215"/>
                  </a:cubicBezTo>
                  <a:cubicBezTo>
                    <a:pt x="62" y="153"/>
                    <a:pt x="62" y="92"/>
                    <a:pt x="62" y="33"/>
                  </a:cubicBezTo>
                  <a:cubicBezTo>
                    <a:pt x="41" y="33"/>
                    <a:pt x="21" y="33"/>
                    <a:pt x="0" y="33"/>
                  </a:cubicBezTo>
                  <a:cubicBezTo>
                    <a:pt x="0" y="20"/>
                    <a:pt x="0" y="10"/>
                    <a:pt x="0" y="0"/>
                  </a:cubicBezTo>
                  <a:cubicBezTo>
                    <a:pt x="54" y="0"/>
                    <a:pt x="108" y="0"/>
                    <a:pt x="164" y="0"/>
                  </a:cubicBezTo>
                  <a:cubicBezTo>
                    <a:pt x="164" y="10"/>
                    <a:pt x="164" y="20"/>
                    <a:pt x="164" y="30"/>
                  </a:cubicBezTo>
                  <a:cubicBezTo>
                    <a:pt x="144" y="30"/>
                    <a:pt x="123" y="30"/>
                    <a:pt x="103" y="30"/>
                  </a:cubicBezTo>
                  <a:cubicBezTo>
                    <a:pt x="103" y="92"/>
                    <a:pt x="103" y="153"/>
                    <a:pt x="103" y="215"/>
                  </a:cubicBezTo>
                  <a:close/>
                </a:path>
              </a:pathLst>
            </a:custGeom>
            <a:solidFill>
              <a:srgbClr val="22419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6" name="Freeform 29"/>
            <p:cNvSpPr>
              <a:spLocks/>
            </p:cNvSpPr>
            <p:nvPr/>
          </p:nvSpPr>
          <p:spPr bwMode="auto">
            <a:xfrm>
              <a:off x="381" y="4108"/>
              <a:ext cx="30" cy="23"/>
            </a:xfrm>
            <a:custGeom>
              <a:avLst/>
              <a:gdLst>
                <a:gd name="T0" fmla="*/ 185 w 185"/>
                <a:gd name="T1" fmla="*/ 36 h 138"/>
                <a:gd name="T2" fmla="*/ 174 w 185"/>
                <a:gd name="T3" fmla="*/ 51 h 138"/>
                <a:gd name="T4" fmla="*/ 57 w 185"/>
                <a:gd name="T5" fmla="*/ 133 h 138"/>
                <a:gd name="T6" fmla="*/ 39 w 185"/>
                <a:gd name="T7" fmla="*/ 138 h 138"/>
                <a:gd name="T8" fmla="*/ 3 w 185"/>
                <a:gd name="T9" fmla="*/ 84 h 138"/>
                <a:gd name="T10" fmla="*/ 21 w 185"/>
                <a:gd name="T11" fmla="*/ 64 h 138"/>
                <a:gd name="T12" fmla="*/ 141 w 185"/>
                <a:gd name="T13" fmla="*/ 8 h 138"/>
                <a:gd name="T14" fmla="*/ 185 w 185"/>
                <a:gd name="T15" fmla="*/ 36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85" h="138">
                  <a:moveTo>
                    <a:pt x="185" y="36"/>
                  </a:moveTo>
                  <a:cubicBezTo>
                    <a:pt x="182" y="41"/>
                    <a:pt x="180" y="49"/>
                    <a:pt x="174" y="51"/>
                  </a:cubicBezTo>
                  <a:cubicBezTo>
                    <a:pt x="136" y="79"/>
                    <a:pt x="95" y="108"/>
                    <a:pt x="57" y="133"/>
                  </a:cubicBezTo>
                  <a:cubicBezTo>
                    <a:pt x="51" y="138"/>
                    <a:pt x="44" y="138"/>
                    <a:pt x="39" y="138"/>
                  </a:cubicBezTo>
                  <a:cubicBezTo>
                    <a:pt x="16" y="133"/>
                    <a:pt x="0" y="105"/>
                    <a:pt x="3" y="84"/>
                  </a:cubicBezTo>
                  <a:cubicBezTo>
                    <a:pt x="5" y="74"/>
                    <a:pt x="10" y="69"/>
                    <a:pt x="21" y="64"/>
                  </a:cubicBezTo>
                  <a:cubicBezTo>
                    <a:pt x="62" y="46"/>
                    <a:pt x="100" y="28"/>
                    <a:pt x="141" y="8"/>
                  </a:cubicBezTo>
                  <a:cubicBezTo>
                    <a:pt x="162" y="0"/>
                    <a:pt x="182" y="13"/>
                    <a:pt x="185" y="36"/>
                  </a:cubicBezTo>
                  <a:close/>
                </a:path>
              </a:pathLst>
            </a:custGeom>
            <a:solidFill>
              <a:srgbClr val="FBB32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7" name="Freeform 30"/>
            <p:cNvSpPr>
              <a:spLocks/>
            </p:cNvSpPr>
            <p:nvPr/>
          </p:nvSpPr>
          <p:spPr bwMode="auto">
            <a:xfrm>
              <a:off x="435" y="4108"/>
              <a:ext cx="31" cy="23"/>
            </a:xfrm>
            <a:custGeom>
              <a:avLst/>
              <a:gdLst>
                <a:gd name="T0" fmla="*/ 0 w 184"/>
                <a:gd name="T1" fmla="*/ 38 h 141"/>
                <a:gd name="T2" fmla="*/ 43 w 184"/>
                <a:gd name="T3" fmla="*/ 10 h 141"/>
                <a:gd name="T4" fmla="*/ 164 w 184"/>
                <a:gd name="T5" fmla="*/ 64 h 141"/>
                <a:gd name="T6" fmla="*/ 182 w 184"/>
                <a:gd name="T7" fmla="*/ 100 h 141"/>
                <a:gd name="T8" fmla="*/ 166 w 184"/>
                <a:gd name="T9" fmla="*/ 125 h 141"/>
                <a:gd name="T10" fmla="*/ 123 w 184"/>
                <a:gd name="T11" fmla="*/ 131 h 141"/>
                <a:gd name="T12" fmla="*/ 15 w 184"/>
                <a:gd name="T13" fmla="*/ 54 h 141"/>
                <a:gd name="T14" fmla="*/ 0 w 184"/>
                <a:gd name="T15" fmla="*/ 38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84" h="141">
                  <a:moveTo>
                    <a:pt x="0" y="38"/>
                  </a:moveTo>
                  <a:cubicBezTo>
                    <a:pt x="2" y="13"/>
                    <a:pt x="23" y="0"/>
                    <a:pt x="43" y="10"/>
                  </a:cubicBezTo>
                  <a:cubicBezTo>
                    <a:pt x="84" y="28"/>
                    <a:pt x="123" y="46"/>
                    <a:pt x="164" y="64"/>
                  </a:cubicBezTo>
                  <a:cubicBezTo>
                    <a:pt x="179" y="72"/>
                    <a:pt x="184" y="82"/>
                    <a:pt x="182" y="100"/>
                  </a:cubicBezTo>
                  <a:cubicBezTo>
                    <a:pt x="177" y="108"/>
                    <a:pt x="174" y="118"/>
                    <a:pt x="166" y="125"/>
                  </a:cubicBezTo>
                  <a:cubicBezTo>
                    <a:pt x="154" y="141"/>
                    <a:pt x="141" y="141"/>
                    <a:pt x="123" y="131"/>
                  </a:cubicBezTo>
                  <a:cubicBezTo>
                    <a:pt x="87" y="105"/>
                    <a:pt x="51" y="79"/>
                    <a:pt x="15" y="54"/>
                  </a:cubicBezTo>
                  <a:cubicBezTo>
                    <a:pt x="8" y="51"/>
                    <a:pt x="5" y="43"/>
                    <a:pt x="0" y="38"/>
                  </a:cubicBezTo>
                  <a:close/>
                </a:path>
              </a:pathLst>
            </a:custGeom>
            <a:solidFill>
              <a:srgbClr val="FBB32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8" name="Freeform 31"/>
            <p:cNvSpPr>
              <a:spLocks/>
            </p:cNvSpPr>
            <p:nvPr/>
          </p:nvSpPr>
          <p:spPr bwMode="auto">
            <a:xfrm>
              <a:off x="417" y="4119"/>
              <a:ext cx="13" cy="32"/>
            </a:xfrm>
            <a:custGeom>
              <a:avLst/>
              <a:gdLst>
                <a:gd name="T0" fmla="*/ 3 w 80"/>
                <a:gd name="T1" fmla="*/ 159 h 195"/>
                <a:gd name="T2" fmla="*/ 13 w 80"/>
                <a:gd name="T3" fmla="*/ 18 h 195"/>
                <a:gd name="T4" fmla="*/ 41 w 80"/>
                <a:gd name="T5" fmla="*/ 0 h 195"/>
                <a:gd name="T6" fmla="*/ 67 w 80"/>
                <a:gd name="T7" fmla="*/ 18 h 195"/>
                <a:gd name="T8" fmla="*/ 80 w 80"/>
                <a:gd name="T9" fmla="*/ 162 h 195"/>
                <a:gd name="T10" fmla="*/ 67 w 80"/>
                <a:gd name="T11" fmla="*/ 185 h 195"/>
                <a:gd name="T12" fmla="*/ 13 w 80"/>
                <a:gd name="T13" fmla="*/ 185 h 195"/>
                <a:gd name="T14" fmla="*/ 3 w 80"/>
                <a:gd name="T15" fmla="*/ 159 h 1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0" h="195">
                  <a:moveTo>
                    <a:pt x="3" y="159"/>
                  </a:moveTo>
                  <a:cubicBezTo>
                    <a:pt x="5" y="113"/>
                    <a:pt x="10" y="67"/>
                    <a:pt x="13" y="18"/>
                  </a:cubicBezTo>
                  <a:cubicBezTo>
                    <a:pt x="15" y="8"/>
                    <a:pt x="26" y="0"/>
                    <a:pt x="41" y="0"/>
                  </a:cubicBezTo>
                  <a:cubicBezTo>
                    <a:pt x="56" y="0"/>
                    <a:pt x="67" y="8"/>
                    <a:pt x="67" y="18"/>
                  </a:cubicBezTo>
                  <a:cubicBezTo>
                    <a:pt x="72" y="67"/>
                    <a:pt x="74" y="113"/>
                    <a:pt x="80" y="162"/>
                  </a:cubicBezTo>
                  <a:cubicBezTo>
                    <a:pt x="80" y="172"/>
                    <a:pt x="74" y="180"/>
                    <a:pt x="67" y="185"/>
                  </a:cubicBezTo>
                  <a:cubicBezTo>
                    <a:pt x="51" y="195"/>
                    <a:pt x="28" y="195"/>
                    <a:pt x="13" y="185"/>
                  </a:cubicBezTo>
                  <a:cubicBezTo>
                    <a:pt x="5" y="180"/>
                    <a:pt x="0" y="172"/>
                    <a:pt x="3" y="159"/>
                  </a:cubicBezTo>
                  <a:close/>
                </a:path>
              </a:pathLst>
            </a:custGeom>
            <a:solidFill>
              <a:srgbClr val="FBB32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9" name="Freeform 32"/>
            <p:cNvSpPr>
              <a:spLocks/>
            </p:cNvSpPr>
            <p:nvPr/>
          </p:nvSpPr>
          <p:spPr bwMode="auto">
            <a:xfrm>
              <a:off x="417" y="4056"/>
              <a:ext cx="13" cy="32"/>
            </a:xfrm>
            <a:custGeom>
              <a:avLst/>
              <a:gdLst>
                <a:gd name="T0" fmla="*/ 38 w 82"/>
                <a:gd name="T1" fmla="*/ 192 h 192"/>
                <a:gd name="T2" fmla="*/ 13 w 82"/>
                <a:gd name="T3" fmla="*/ 167 h 192"/>
                <a:gd name="T4" fmla="*/ 3 w 82"/>
                <a:gd name="T5" fmla="*/ 36 h 192"/>
                <a:gd name="T6" fmla="*/ 23 w 82"/>
                <a:gd name="T7" fmla="*/ 3 h 192"/>
                <a:gd name="T8" fmla="*/ 54 w 82"/>
                <a:gd name="T9" fmla="*/ 3 h 192"/>
                <a:gd name="T10" fmla="*/ 80 w 82"/>
                <a:gd name="T11" fmla="*/ 39 h 192"/>
                <a:gd name="T12" fmla="*/ 67 w 82"/>
                <a:gd name="T13" fmla="*/ 167 h 192"/>
                <a:gd name="T14" fmla="*/ 38 w 82"/>
                <a:gd name="T15" fmla="*/ 192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2" h="192">
                  <a:moveTo>
                    <a:pt x="38" y="192"/>
                  </a:moveTo>
                  <a:cubicBezTo>
                    <a:pt x="21" y="192"/>
                    <a:pt x="15" y="185"/>
                    <a:pt x="13" y="167"/>
                  </a:cubicBezTo>
                  <a:cubicBezTo>
                    <a:pt x="10" y="123"/>
                    <a:pt x="5" y="80"/>
                    <a:pt x="3" y="36"/>
                  </a:cubicBezTo>
                  <a:cubicBezTo>
                    <a:pt x="0" y="18"/>
                    <a:pt x="5" y="8"/>
                    <a:pt x="23" y="3"/>
                  </a:cubicBezTo>
                  <a:cubicBezTo>
                    <a:pt x="33" y="0"/>
                    <a:pt x="44" y="0"/>
                    <a:pt x="54" y="3"/>
                  </a:cubicBezTo>
                  <a:cubicBezTo>
                    <a:pt x="74" y="5"/>
                    <a:pt x="82" y="18"/>
                    <a:pt x="80" y="39"/>
                  </a:cubicBezTo>
                  <a:cubicBezTo>
                    <a:pt x="74" y="80"/>
                    <a:pt x="72" y="123"/>
                    <a:pt x="67" y="167"/>
                  </a:cubicBezTo>
                  <a:cubicBezTo>
                    <a:pt x="67" y="185"/>
                    <a:pt x="59" y="192"/>
                    <a:pt x="38" y="192"/>
                  </a:cubicBezTo>
                  <a:close/>
                </a:path>
              </a:pathLst>
            </a:custGeom>
            <a:solidFill>
              <a:srgbClr val="FBB32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0" name="Freeform 33"/>
            <p:cNvSpPr>
              <a:spLocks/>
            </p:cNvSpPr>
            <p:nvPr/>
          </p:nvSpPr>
          <p:spPr bwMode="auto">
            <a:xfrm>
              <a:off x="435" y="4075"/>
              <a:ext cx="31" cy="24"/>
            </a:xfrm>
            <a:custGeom>
              <a:avLst/>
              <a:gdLst>
                <a:gd name="T0" fmla="*/ 0 w 187"/>
                <a:gd name="T1" fmla="*/ 103 h 141"/>
                <a:gd name="T2" fmla="*/ 13 w 187"/>
                <a:gd name="T3" fmla="*/ 87 h 141"/>
                <a:gd name="T4" fmla="*/ 128 w 187"/>
                <a:gd name="T5" fmla="*/ 8 h 141"/>
                <a:gd name="T6" fmla="*/ 154 w 187"/>
                <a:gd name="T7" fmla="*/ 5 h 141"/>
                <a:gd name="T8" fmla="*/ 179 w 187"/>
                <a:gd name="T9" fmla="*/ 59 h 141"/>
                <a:gd name="T10" fmla="*/ 169 w 187"/>
                <a:gd name="T11" fmla="*/ 74 h 141"/>
                <a:gd name="T12" fmla="*/ 38 w 187"/>
                <a:gd name="T13" fmla="*/ 133 h 141"/>
                <a:gd name="T14" fmla="*/ 0 w 187"/>
                <a:gd name="T15" fmla="*/ 103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87" h="141">
                  <a:moveTo>
                    <a:pt x="0" y="103"/>
                  </a:moveTo>
                  <a:cubicBezTo>
                    <a:pt x="5" y="97"/>
                    <a:pt x="8" y="92"/>
                    <a:pt x="13" y="87"/>
                  </a:cubicBezTo>
                  <a:cubicBezTo>
                    <a:pt x="51" y="62"/>
                    <a:pt x="90" y="33"/>
                    <a:pt x="128" y="8"/>
                  </a:cubicBezTo>
                  <a:cubicBezTo>
                    <a:pt x="136" y="0"/>
                    <a:pt x="146" y="0"/>
                    <a:pt x="154" y="5"/>
                  </a:cubicBezTo>
                  <a:cubicBezTo>
                    <a:pt x="174" y="15"/>
                    <a:pt x="187" y="41"/>
                    <a:pt x="179" y="59"/>
                  </a:cubicBezTo>
                  <a:cubicBezTo>
                    <a:pt x="179" y="64"/>
                    <a:pt x="174" y="72"/>
                    <a:pt x="169" y="74"/>
                  </a:cubicBezTo>
                  <a:cubicBezTo>
                    <a:pt x="125" y="95"/>
                    <a:pt x="82" y="113"/>
                    <a:pt x="38" y="133"/>
                  </a:cubicBezTo>
                  <a:cubicBezTo>
                    <a:pt x="23" y="141"/>
                    <a:pt x="2" y="126"/>
                    <a:pt x="0" y="103"/>
                  </a:cubicBezTo>
                  <a:close/>
                </a:path>
              </a:pathLst>
            </a:custGeom>
            <a:solidFill>
              <a:srgbClr val="FBB32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1" name="Freeform 34"/>
            <p:cNvSpPr>
              <a:spLocks/>
            </p:cNvSpPr>
            <p:nvPr/>
          </p:nvSpPr>
          <p:spPr bwMode="auto">
            <a:xfrm>
              <a:off x="381" y="4075"/>
              <a:ext cx="30" cy="24"/>
            </a:xfrm>
            <a:custGeom>
              <a:avLst/>
              <a:gdLst>
                <a:gd name="T0" fmla="*/ 185 w 185"/>
                <a:gd name="T1" fmla="*/ 103 h 141"/>
                <a:gd name="T2" fmla="*/ 141 w 185"/>
                <a:gd name="T3" fmla="*/ 131 h 141"/>
                <a:gd name="T4" fmla="*/ 21 w 185"/>
                <a:gd name="T5" fmla="*/ 77 h 141"/>
                <a:gd name="T6" fmla="*/ 5 w 185"/>
                <a:gd name="T7" fmla="*/ 41 h 141"/>
                <a:gd name="T8" fmla="*/ 26 w 185"/>
                <a:gd name="T9" fmla="*/ 8 h 141"/>
                <a:gd name="T10" fmla="*/ 57 w 185"/>
                <a:gd name="T11" fmla="*/ 8 h 141"/>
                <a:gd name="T12" fmla="*/ 172 w 185"/>
                <a:gd name="T13" fmla="*/ 87 h 141"/>
                <a:gd name="T14" fmla="*/ 185 w 185"/>
                <a:gd name="T15" fmla="*/ 103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85" h="141">
                  <a:moveTo>
                    <a:pt x="185" y="103"/>
                  </a:moveTo>
                  <a:cubicBezTo>
                    <a:pt x="182" y="128"/>
                    <a:pt x="162" y="141"/>
                    <a:pt x="141" y="131"/>
                  </a:cubicBezTo>
                  <a:cubicBezTo>
                    <a:pt x="103" y="113"/>
                    <a:pt x="62" y="95"/>
                    <a:pt x="21" y="77"/>
                  </a:cubicBezTo>
                  <a:cubicBezTo>
                    <a:pt x="5" y="69"/>
                    <a:pt x="0" y="59"/>
                    <a:pt x="5" y="41"/>
                  </a:cubicBezTo>
                  <a:cubicBezTo>
                    <a:pt x="8" y="28"/>
                    <a:pt x="16" y="15"/>
                    <a:pt x="26" y="8"/>
                  </a:cubicBezTo>
                  <a:cubicBezTo>
                    <a:pt x="36" y="0"/>
                    <a:pt x="46" y="0"/>
                    <a:pt x="57" y="8"/>
                  </a:cubicBezTo>
                  <a:cubicBezTo>
                    <a:pt x="95" y="33"/>
                    <a:pt x="133" y="62"/>
                    <a:pt x="172" y="87"/>
                  </a:cubicBezTo>
                  <a:cubicBezTo>
                    <a:pt x="177" y="92"/>
                    <a:pt x="180" y="97"/>
                    <a:pt x="185" y="103"/>
                  </a:cubicBezTo>
                  <a:close/>
                </a:path>
              </a:pathLst>
            </a:custGeom>
            <a:solidFill>
              <a:srgbClr val="FBB32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2" name="Freeform 35"/>
            <p:cNvSpPr>
              <a:spLocks/>
            </p:cNvSpPr>
            <p:nvPr/>
          </p:nvSpPr>
          <p:spPr bwMode="auto">
            <a:xfrm>
              <a:off x="434" y="3820"/>
              <a:ext cx="6" cy="36"/>
            </a:xfrm>
            <a:custGeom>
              <a:avLst/>
              <a:gdLst>
                <a:gd name="T0" fmla="*/ 0 w 39"/>
                <a:gd name="T1" fmla="*/ 0 h 218"/>
                <a:gd name="T2" fmla="*/ 39 w 39"/>
                <a:gd name="T3" fmla="*/ 0 h 218"/>
                <a:gd name="T4" fmla="*/ 39 w 39"/>
                <a:gd name="T5" fmla="*/ 218 h 218"/>
                <a:gd name="T6" fmla="*/ 0 w 39"/>
                <a:gd name="T7" fmla="*/ 218 h 218"/>
                <a:gd name="T8" fmla="*/ 0 w 39"/>
                <a:gd name="T9" fmla="*/ 0 h 2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9" h="218">
                  <a:moveTo>
                    <a:pt x="0" y="0"/>
                  </a:moveTo>
                  <a:cubicBezTo>
                    <a:pt x="13" y="0"/>
                    <a:pt x="26" y="0"/>
                    <a:pt x="39" y="0"/>
                  </a:cubicBezTo>
                  <a:cubicBezTo>
                    <a:pt x="39" y="74"/>
                    <a:pt x="39" y="146"/>
                    <a:pt x="39" y="218"/>
                  </a:cubicBezTo>
                  <a:cubicBezTo>
                    <a:pt x="26" y="218"/>
                    <a:pt x="13" y="218"/>
                    <a:pt x="0" y="218"/>
                  </a:cubicBezTo>
                  <a:cubicBezTo>
                    <a:pt x="0" y="146"/>
                    <a:pt x="0" y="74"/>
                    <a:pt x="0" y="0"/>
                  </a:cubicBezTo>
                  <a:close/>
                </a:path>
              </a:pathLst>
            </a:custGeom>
            <a:solidFill>
              <a:srgbClr val="22419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3" name="Freeform 36"/>
            <p:cNvSpPr>
              <a:spLocks/>
            </p:cNvSpPr>
            <p:nvPr/>
          </p:nvSpPr>
          <p:spPr bwMode="auto">
            <a:xfrm>
              <a:off x="540" y="3820"/>
              <a:ext cx="6" cy="36"/>
            </a:xfrm>
            <a:custGeom>
              <a:avLst/>
              <a:gdLst>
                <a:gd name="T0" fmla="*/ 0 w 38"/>
                <a:gd name="T1" fmla="*/ 0 h 215"/>
                <a:gd name="T2" fmla="*/ 38 w 38"/>
                <a:gd name="T3" fmla="*/ 0 h 215"/>
                <a:gd name="T4" fmla="*/ 38 w 38"/>
                <a:gd name="T5" fmla="*/ 215 h 215"/>
                <a:gd name="T6" fmla="*/ 0 w 38"/>
                <a:gd name="T7" fmla="*/ 215 h 215"/>
                <a:gd name="T8" fmla="*/ 0 w 38"/>
                <a:gd name="T9" fmla="*/ 0 h 2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8" h="215">
                  <a:moveTo>
                    <a:pt x="0" y="0"/>
                  </a:moveTo>
                  <a:cubicBezTo>
                    <a:pt x="12" y="0"/>
                    <a:pt x="25" y="0"/>
                    <a:pt x="38" y="0"/>
                  </a:cubicBezTo>
                  <a:cubicBezTo>
                    <a:pt x="38" y="71"/>
                    <a:pt x="38" y="143"/>
                    <a:pt x="38" y="215"/>
                  </a:cubicBezTo>
                  <a:cubicBezTo>
                    <a:pt x="25" y="215"/>
                    <a:pt x="15" y="215"/>
                    <a:pt x="0" y="215"/>
                  </a:cubicBezTo>
                  <a:cubicBezTo>
                    <a:pt x="0" y="143"/>
                    <a:pt x="0" y="71"/>
                    <a:pt x="0" y="0"/>
                  </a:cubicBezTo>
                  <a:close/>
                </a:path>
              </a:pathLst>
            </a:custGeom>
            <a:solidFill>
              <a:srgbClr val="22419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4" name="Freeform 37"/>
            <p:cNvSpPr>
              <a:spLocks/>
            </p:cNvSpPr>
            <p:nvPr/>
          </p:nvSpPr>
          <p:spPr bwMode="auto">
            <a:xfrm>
              <a:off x="272" y="3820"/>
              <a:ext cx="6" cy="36"/>
            </a:xfrm>
            <a:custGeom>
              <a:avLst/>
              <a:gdLst>
                <a:gd name="T0" fmla="*/ 0 w 38"/>
                <a:gd name="T1" fmla="*/ 215 h 215"/>
                <a:gd name="T2" fmla="*/ 0 w 38"/>
                <a:gd name="T3" fmla="*/ 0 h 215"/>
                <a:gd name="T4" fmla="*/ 38 w 38"/>
                <a:gd name="T5" fmla="*/ 0 h 215"/>
                <a:gd name="T6" fmla="*/ 38 w 38"/>
                <a:gd name="T7" fmla="*/ 215 h 215"/>
                <a:gd name="T8" fmla="*/ 0 w 38"/>
                <a:gd name="T9" fmla="*/ 215 h 2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8" h="215">
                  <a:moveTo>
                    <a:pt x="0" y="215"/>
                  </a:moveTo>
                  <a:cubicBezTo>
                    <a:pt x="0" y="143"/>
                    <a:pt x="0" y="71"/>
                    <a:pt x="0" y="0"/>
                  </a:cubicBezTo>
                  <a:cubicBezTo>
                    <a:pt x="13" y="0"/>
                    <a:pt x="25" y="0"/>
                    <a:pt x="38" y="0"/>
                  </a:cubicBezTo>
                  <a:cubicBezTo>
                    <a:pt x="38" y="71"/>
                    <a:pt x="38" y="143"/>
                    <a:pt x="38" y="215"/>
                  </a:cubicBezTo>
                  <a:cubicBezTo>
                    <a:pt x="25" y="215"/>
                    <a:pt x="13" y="215"/>
                    <a:pt x="0" y="215"/>
                  </a:cubicBezTo>
                  <a:close/>
                </a:path>
              </a:pathLst>
            </a:custGeom>
            <a:solidFill>
              <a:srgbClr val="22419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5" name="Freeform 38"/>
            <p:cNvSpPr>
              <a:spLocks/>
            </p:cNvSpPr>
            <p:nvPr/>
          </p:nvSpPr>
          <p:spPr bwMode="auto">
            <a:xfrm>
              <a:off x="492" y="4078"/>
              <a:ext cx="16" cy="13"/>
            </a:xfrm>
            <a:custGeom>
              <a:avLst/>
              <a:gdLst>
                <a:gd name="T0" fmla="*/ 0 w 100"/>
                <a:gd name="T1" fmla="*/ 34 h 80"/>
                <a:gd name="T2" fmla="*/ 13 w 100"/>
                <a:gd name="T3" fmla="*/ 6 h 80"/>
                <a:gd name="T4" fmla="*/ 36 w 100"/>
                <a:gd name="T5" fmla="*/ 11 h 80"/>
                <a:gd name="T6" fmla="*/ 90 w 100"/>
                <a:gd name="T7" fmla="*/ 49 h 80"/>
                <a:gd name="T8" fmla="*/ 95 w 100"/>
                <a:gd name="T9" fmla="*/ 70 h 80"/>
                <a:gd name="T10" fmla="*/ 75 w 100"/>
                <a:gd name="T11" fmla="*/ 75 h 80"/>
                <a:gd name="T12" fmla="*/ 11 w 100"/>
                <a:gd name="T13" fmla="*/ 44 h 80"/>
                <a:gd name="T14" fmla="*/ 0 w 100"/>
                <a:gd name="T15" fmla="*/ 34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00" h="80">
                  <a:moveTo>
                    <a:pt x="0" y="34"/>
                  </a:moveTo>
                  <a:cubicBezTo>
                    <a:pt x="0" y="18"/>
                    <a:pt x="5" y="11"/>
                    <a:pt x="13" y="6"/>
                  </a:cubicBezTo>
                  <a:cubicBezTo>
                    <a:pt x="23" y="0"/>
                    <a:pt x="29" y="6"/>
                    <a:pt x="36" y="11"/>
                  </a:cubicBezTo>
                  <a:cubicBezTo>
                    <a:pt x="54" y="23"/>
                    <a:pt x="72" y="36"/>
                    <a:pt x="90" y="49"/>
                  </a:cubicBezTo>
                  <a:cubicBezTo>
                    <a:pt x="98" y="54"/>
                    <a:pt x="100" y="59"/>
                    <a:pt x="95" y="70"/>
                  </a:cubicBezTo>
                  <a:cubicBezTo>
                    <a:pt x="90" y="77"/>
                    <a:pt x="85" y="80"/>
                    <a:pt x="75" y="75"/>
                  </a:cubicBezTo>
                  <a:cubicBezTo>
                    <a:pt x="54" y="64"/>
                    <a:pt x="31" y="54"/>
                    <a:pt x="11" y="44"/>
                  </a:cubicBezTo>
                  <a:cubicBezTo>
                    <a:pt x="5" y="41"/>
                    <a:pt x="3" y="36"/>
                    <a:pt x="0" y="34"/>
                  </a:cubicBezTo>
                  <a:close/>
                </a:path>
              </a:pathLst>
            </a:custGeom>
            <a:solidFill>
              <a:srgbClr val="FBB32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6" name="Freeform 39"/>
            <p:cNvSpPr>
              <a:spLocks/>
            </p:cNvSpPr>
            <p:nvPr/>
          </p:nvSpPr>
          <p:spPr bwMode="auto">
            <a:xfrm>
              <a:off x="339" y="4078"/>
              <a:ext cx="16" cy="13"/>
            </a:xfrm>
            <a:custGeom>
              <a:avLst/>
              <a:gdLst>
                <a:gd name="T0" fmla="*/ 100 w 100"/>
                <a:gd name="T1" fmla="*/ 31 h 77"/>
                <a:gd name="T2" fmla="*/ 90 w 100"/>
                <a:gd name="T3" fmla="*/ 41 h 77"/>
                <a:gd name="T4" fmla="*/ 23 w 100"/>
                <a:gd name="T5" fmla="*/ 72 h 77"/>
                <a:gd name="T6" fmla="*/ 2 w 100"/>
                <a:gd name="T7" fmla="*/ 67 h 77"/>
                <a:gd name="T8" fmla="*/ 7 w 100"/>
                <a:gd name="T9" fmla="*/ 46 h 77"/>
                <a:gd name="T10" fmla="*/ 69 w 100"/>
                <a:gd name="T11" fmla="*/ 5 h 77"/>
                <a:gd name="T12" fmla="*/ 84 w 100"/>
                <a:gd name="T13" fmla="*/ 3 h 77"/>
                <a:gd name="T14" fmla="*/ 100 w 100"/>
                <a:gd name="T15" fmla="*/ 31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00" h="77">
                  <a:moveTo>
                    <a:pt x="100" y="31"/>
                  </a:moveTo>
                  <a:cubicBezTo>
                    <a:pt x="97" y="33"/>
                    <a:pt x="95" y="38"/>
                    <a:pt x="90" y="41"/>
                  </a:cubicBezTo>
                  <a:cubicBezTo>
                    <a:pt x="66" y="51"/>
                    <a:pt x="43" y="61"/>
                    <a:pt x="23" y="72"/>
                  </a:cubicBezTo>
                  <a:cubicBezTo>
                    <a:pt x="13" y="77"/>
                    <a:pt x="7" y="74"/>
                    <a:pt x="2" y="67"/>
                  </a:cubicBezTo>
                  <a:cubicBezTo>
                    <a:pt x="0" y="59"/>
                    <a:pt x="0" y="51"/>
                    <a:pt x="7" y="46"/>
                  </a:cubicBezTo>
                  <a:cubicBezTo>
                    <a:pt x="28" y="33"/>
                    <a:pt x="49" y="18"/>
                    <a:pt x="69" y="5"/>
                  </a:cubicBezTo>
                  <a:cubicBezTo>
                    <a:pt x="72" y="3"/>
                    <a:pt x="79" y="0"/>
                    <a:pt x="84" y="3"/>
                  </a:cubicBezTo>
                  <a:cubicBezTo>
                    <a:pt x="95" y="8"/>
                    <a:pt x="97" y="15"/>
                    <a:pt x="100" y="31"/>
                  </a:cubicBezTo>
                  <a:close/>
                </a:path>
              </a:pathLst>
            </a:custGeom>
            <a:solidFill>
              <a:srgbClr val="FBB32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7" name="Freeform 40"/>
            <p:cNvSpPr>
              <a:spLocks/>
            </p:cNvSpPr>
            <p:nvPr/>
          </p:nvSpPr>
          <p:spPr bwMode="auto">
            <a:xfrm>
              <a:off x="511" y="4102"/>
              <a:ext cx="8" cy="18"/>
            </a:xfrm>
            <a:custGeom>
              <a:avLst/>
              <a:gdLst>
                <a:gd name="T0" fmla="*/ 23 w 46"/>
                <a:gd name="T1" fmla="*/ 108 h 108"/>
                <a:gd name="T2" fmla="*/ 2 w 46"/>
                <a:gd name="T3" fmla="*/ 82 h 108"/>
                <a:gd name="T4" fmla="*/ 7 w 46"/>
                <a:gd name="T5" fmla="*/ 18 h 108"/>
                <a:gd name="T6" fmla="*/ 23 w 46"/>
                <a:gd name="T7" fmla="*/ 0 h 108"/>
                <a:gd name="T8" fmla="*/ 38 w 46"/>
                <a:gd name="T9" fmla="*/ 18 h 108"/>
                <a:gd name="T10" fmla="*/ 46 w 46"/>
                <a:gd name="T11" fmla="*/ 90 h 108"/>
                <a:gd name="T12" fmla="*/ 23 w 46"/>
                <a:gd name="T13" fmla="*/ 108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6" h="108">
                  <a:moveTo>
                    <a:pt x="23" y="108"/>
                  </a:moveTo>
                  <a:cubicBezTo>
                    <a:pt x="7" y="108"/>
                    <a:pt x="0" y="100"/>
                    <a:pt x="2" y="82"/>
                  </a:cubicBezTo>
                  <a:cubicBezTo>
                    <a:pt x="5" y="61"/>
                    <a:pt x="5" y="41"/>
                    <a:pt x="7" y="18"/>
                  </a:cubicBezTo>
                  <a:cubicBezTo>
                    <a:pt x="10" y="5"/>
                    <a:pt x="13" y="0"/>
                    <a:pt x="23" y="0"/>
                  </a:cubicBezTo>
                  <a:cubicBezTo>
                    <a:pt x="33" y="0"/>
                    <a:pt x="38" y="5"/>
                    <a:pt x="38" y="18"/>
                  </a:cubicBezTo>
                  <a:cubicBezTo>
                    <a:pt x="41" y="41"/>
                    <a:pt x="43" y="67"/>
                    <a:pt x="46" y="90"/>
                  </a:cubicBezTo>
                  <a:cubicBezTo>
                    <a:pt x="46" y="100"/>
                    <a:pt x="36" y="108"/>
                    <a:pt x="23" y="108"/>
                  </a:cubicBezTo>
                  <a:close/>
                </a:path>
              </a:pathLst>
            </a:custGeom>
            <a:solidFill>
              <a:srgbClr val="FBB32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8" name="Freeform 41"/>
            <p:cNvSpPr>
              <a:spLocks/>
            </p:cNvSpPr>
            <p:nvPr/>
          </p:nvSpPr>
          <p:spPr bwMode="auto">
            <a:xfrm>
              <a:off x="328" y="4102"/>
              <a:ext cx="8" cy="18"/>
            </a:xfrm>
            <a:custGeom>
              <a:avLst/>
              <a:gdLst>
                <a:gd name="T0" fmla="*/ 46 w 46"/>
                <a:gd name="T1" fmla="*/ 90 h 108"/>
                <a:gd name="T2" fmla="*/ 23 w 46"/>
                <a:gd name="T3" fmla="*/ 108 h 108"/>
                <a:gd name="T4" fmla="*/ 2 w 46"/>
                <a:gd name="T5" fmla="*/ 87 h 108"/>
                <a:gd name="T6" fmla="*/ 7 w 46"/>
                <a:gd name="T7" fmla="*/ 15 h 108"/>
                <a:gd name="T8" fmla="*/ 23 w 46"/>
                <a:gd name="T9" fmla="*/ 0 h 108"/>
                <a:gd name="T10" fmla="*/ 38 w 46"/>
                <a:gd name="T11" fmla="*/ 15 h 108"/>
                <a:gd name="T12" fmla="*/ 46 w 46"/>
                <a:gd name="T13" fmla="*/ 90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6" h="108">
                  <a:moveTo>
                    <a:pt x="46" y="90"/>
                  </a:moveTo>
                  <a:cubicBezTo>
                    <a:pt x="46" y="100"/>
                    <a:pt x="38" y="108"/>
                    <a:pt x="23" y="108"/>
                  </a:cubicBezTo>
                  <a:cubicBezTo>
                    <a:pt x="7" y="108"/>
                    <a:pt x="0" y="100"/>
                    <a:pt x="2" y="87"/>
                  </a:cubicBezTo>
                  <a:cubicBezTo>
                    <a:pt x="5" y="64"/>
                    <a:pt x="7" y="38"/>
                    <a:pt x="7" y="15"/>
                  </a:cubicBezTo>
                  <a:cubicBezTo>
                    <a:pt x="10" y="5"/>
                    <a:pt x="15" y="0"/>
                    <a:pt x="23" y="0"/>
                  </a:cubicBezTo>
                  <a:cubicBezTo>
                    <a:pt x="33" y="3"/>
                    <a:pt x="38" y="5"/>
                    <a:pt x="38" y="15"/>
                  </a:cubicBezTo>
                  <a:cubicBezTo>
                    <a:pt x="41" y="38"/>
                    <a:pt x="43" y="64"/>
                    <a:pt x="46" y="90"/>
                  </a:cubicBezTo>
                  <a:close/>
                </a:path>
              </a:pathLst>
            </a:custGeom>
            <a:solidFill>
              <a:srgbClr val="FBB32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9" name="Freeform 42"/>
            <p:cNvSpPr>
              <a:spLocks/>
            </p:cNvSpPr>
            <p:nvPr/>
          </p:nvSpPr>
          <p:spPr bwMode="auto">
            <a:xfrm>
              <a:off x="511" y="4067"/>
              <a:ext cx="8" cy="18"/>
            </a:xfrm>
            <a:custGeom>
              <a:avLst/>
              <a:gdLst>
                <a:gd name="T0" fmla="*/ 43 w 46"/>
                <a:gd name="T1" fmla="*/ 29 h 108"/>
                <a:gd name="T2" fmla="*/ 38 w 46"/>
                <a:gd name="T3" fmla="*/ 95 h 108"/>
                <a:gd name="T4" fmla="*/ 23 w 46"/>
                <a:gd name="T5" fmla="*/ 108 h 108"/>
                <a:gd name="T6" fmla="*/ 7 w 46"/>
                <a:gd name="T7" fmla="*/ 95 h 108"/>
                <a:gd name="T8" fmla="*/ 2 w 46"/>
                <a:gd name="T9" fmla="*/ 21 h 108"/>
                <a:gd name="T10" fmla="*/ 25 w 46"/>
                <a:gd name="T11" fmla="*/ 3 h 108"/>
                <a:gd name="T12" fmla="*/ 43 w 46"/>
                <a:gd name="T13" fmla="*/ 21 h 108"/>
                <a:gd name="T14" fmla="*/ 43 w 46"/>
                <a:gd name="T15" fmla="*/ 29 h 108"/>
                <a:gd name="T16" fmla="*/ 43 w 46"/>
                <a:gd name="T17" fmla="*/ 29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6" h="108">
                  <a:moveTo>
                    <a:pt x="43" y="29"/>
                  </a:moveTo>
                  <a:cubicBezTo>
                    <a:pt x="43" y="49"/>
                    <a:pt x="41" y="72"/>
                    <a:pt x="38" y="95"/>
                  </a:cubicBezTo>
                  <a:cubicBezTo>
                    <a:pt x="38" y="105"/>
                    <a:pt x="30" y="108"/>
                    <a:pt x="23" y="108"/>
                  </a:cubicBezTo>
                  <a:cubicBezTo>
                    <a:pt x="15" y="108"/>
                    <a:pt x="10" y="105"/>
                    <a:pt x="7" y="95"/>
                  </a:cubicBezTo>
                  <a:cubicBezTo>
                    <a:pt x="7" y="70"/>
                    <a:pt x="5" y="46"/>
                    <a:pt x="2" y="21"/>
                  </a:cubicBezTo>
                  <a:cubicBezTo>
                    <a:pt x="0" y="8"/>
                    <a:pt x="10" y="0"/>
                    <a:pt x="25" y="3"/>
                  </a:cubicBezTo>
                  <a:cubicBezTo>
                    <a:pt x="38" y="3"/>
                    <a:pt x="46" y="8"/>
                    <a:pt x="43" y="21"/>
                  </a:cubicBezTo>
                  <a:cubicBezTo>
                    <a:pt x="43" y="23"/>
                    <a:pt x="43" y="26"/>
                    <a:pt x="43" y="29"/>
                  </a:cubicBezTo>
                  <a:cubicBezTo>
                    <a:pt x="43" y="29"/>
                    <a:pt x="43" y="29"/>
                    <a:pt x="43" y="29"/>
                  </a:cubicBezTo>
                  <a:close/>
                </a:path>
              </a:pathLst>
            </a:custGeom>
            <a:solidFill>
              <a:srgbClr val="FBB32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0" name="Freeform 43"/>
            <p:cNvSpPr>
              <a:spLocks/>
            </p:cNvSpPr>
            <p:nvPr/>
          </p:nvSpPr>
          <p:spPr bwMode="auto">
            <a:xfrm>
              <a:off x="492" y="4096"/>
              <a:ext cx="16" cy="13"/>
            </a:xfrm>
            <a:custGeom>
              <a:avLst/>
              <a:gdLst>
                <a:gd name="T0" fmla="*/ 100 w 100"/>
                <a:gd name="T1" fmla="*/ 23 h 80"/>
                <a:gd name="T2" fmla="*/ 95 w 100"/>
                <a:gd name="T3" fmla="*/ 31 h 80"/>
                <a:gd name="T4" fmla="*/ 33 w 100"/>
                <a:gd name="T5" fmla="*/ 74 h 80"/>
                <a:gd name="T6" fmla="*/ 5 w 100"/>
                <a:gd name="T7" fmla="*/ 64 h 80"/>
                <a:gd name="T8" fmla="*/ 10 w 100"/>
                <a:gd name="T9" fmla="*/ 36 h 80"/>
                <a:gd name="T10" fmla="*/ 79 w 100"/>
                <a:gd name="T11" fmla="*/ 5 h 80"/>
                <a:gd name="T12" fmla="*/ 100 w 100"/>
                <a:gd name="T13" fmla="*/ 23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0" h="80">
                  <a:moveTo>
                    <a:pt x="100" y="23"/>
                  </a:moveTo>
                  <a:cubicBezTo>
                    <a:pt x="100" y="26"/>
                    <a:pt x="97" y="28"/>
                    <a:pt x="95" y="31"/>
                  </a:cubicBezTo>
                  <a:cubicBezTo>
                    <a:pt x="74" y="46"/>
                    <a:pt x="54" y="59"/>
                    <a:pt x="33" y="74"/>
                  </a:cubicBezTo>
                  <a:cubicBezTo>
                    <a:pt x="23" y="80"/>
                    <a:pt x="13" y="77"/>
                    <a:pt x="5" y="64"/>
                  </a:cubicBezTo>
                  <a:cubicBezTo>
                    <a:pt x="0" y="51"/>
                    <a:pt x="0" y="41"/>
                    <a:pt x="10" y="36"/>
                  </a:cubicBezTo>
                  <a:cubicBezTo>
                    <a:pt x="33" y="26"/>
                    <a:pt x="56" y="15"/>
                    <a:pt x="79" y="5"/>
                  </a:cubicBezTo>
                  <a:cubicBezTo>
                    <a:pt x="90" y="0"/>
                    <a:pt x="100" y="8"/>
                    <a:pt x="100" y="23"/>
                  </a:cubicBezTo>
                  <a:close/>
                </a:path>
              </a:pathLst>
            </a:custGeom>
            <a:solidFill>
              <a:srgbClr val="FBB32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1" name="Freeform 44"/>
            <p:cNvSpPr>
              <a:spLocks/>
            </p:cNvSpPr>
            <p:nvPr/>
          </p:nvSpPr>
          <p:spPr bwMode="auto">
            <a:xfrm>
              <a:off x="309" y="4096"/>
              <a:ext cx="16" cy="13"/>
            </a:xfrm>
            <a:custGeom>
              <a:avLst/>
              <a:gdLst>
                <a:gd name="T0" fmla="*/ 25 w 102"/>
                <a:gd name="T1" fmla="*/ 77 h 77"/>
                <a:gd name="T2" fmla="*/ 2 w 102"/>
                <a:gd name="T3" fmla="*/ 56 h 77"/>
                <a:gd name="T4" fmla="*/ 13 w 102"/>
                <a:gd name="T5" fmla="*/ 36 h 77"/>
                <a:gd name="T6" fmla="*/ 79 w 102"/>
                <a:gd name="T7" fmla="*/ 5 h 77"/>
                <a:gd name="T8" fmla="*/ 97 w 102"/>
                <a:gd name="T9" fmla="*/ 10 h 77"/>
                <a:gd name="T10" fmla="*/ 92 w 102"/>
                <a:gd name="T11" fmla="*/ 31 h 77"/>
                <a:gd name="T12" fmla="*/ 33 w 102"/>
                <a:gd name="T13" fmla="*/ 74 h 77"/>
                <a:gd name="T14" fmla="*/ 25 w 102"/>
                <a:gd name="T15" fmla="*/ 77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02" h="77">
                  <a:moveTo>
                    <a:pt x="25" y="77"/>
                  </a:moveTo>
                  <a:cubicBezTo>
                    <a:pt x="15" y="77"/>
                    <a:pt x="5" y="69"/>
                    <a:pt x="2" y="56"/>
                  </a:cubicBezTo>
                  <a:cubicBezTo>
                    <a:pt x="0" y="46"/>
                    <a:pt x="2" y="41"/>
                    <a:pt x="13" y="36"/>
                  </a:cubicBezTo>
                  <a:cubicBezTo>
                    <a:pt x="36" y="26"/>
                    <a:pt x="56" y="15"/>
                    <a:pt x="79" y="5"/>
                  </a:cubicBezTo>
                  <a:cubicBezTo>
                    <a:pt x="87" y="0"/>
                    <a:pt x="92" y="5"/>
                    <a:pt x="97" y="10"/>
                  </a:cubicBezTo>
                  <a:cubicBezTo>
                    <a:pt x="102" y="18"/>
                    <a:pt x="102" y="26"/>
                    <a:pt x="92" y="31"/>
                  </a:cubicBezTo>
                  <a:cubicBezTo>
                    <a:pt x="74" y="46"/>
                    <a:pt x="54" y="59"/>
                    <a:pt x="33" y="74"/>
                  </a:cubicBezTo>
                  <a:cubicBezTo>
                    <a:pt x="31" y="74"/>
                    <a:pt x="28" y="77"/>
                    <a:pt x="25" y="77"/>
                  </a:cubicBezTo>
                  <a:close/>
                </a:path>
              </a:pathLst>
            </a:custGeom>
            <a:solidFill>
              <a:srgbClr val="FBB32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2" name="Freeform 45"/>
            <p:cNvSpPr>
              <a:spLocks/>
            </p:cNvSpPr>
            <p:nvPr/>
          </p:nvSpPr>
          <p:spPr bwMode="auto">
            <a:xfrm>
              <a:off x="522" y="4096"/>
              <a:ext cx="16" cy="13"/>
            </a:xfrm>
            <a:custGeom>
              <a:avLst/>
              <a:gdLst>
                <a:gd name="T0" fmla="*/ 100 w 100"/>
                <a:gd name="T1" fmla="*/ 49 h 80"/>
                <a:gd name="T2" fmla="*/ 84 w 100"/>
                <a:gd name="T3" fmla="*/ 74 h 80"/>
                <a:gd name="T4" fmla="*/ 64 w 100"/>
                <a:gd name="T5" fmla="*/ 72 h 80"/>
                <a:gd name="T6" fmla="*/ 7 w 100"/>
                <a:gd name="T7" fmla="*/ 31 h 80"/>
                <a:gd name="T8" fmla="*/ 2 w 100"/>
                <a:gd name="T9" fmla="*/ 13 h 80"/>
                <a:gd name="T10" fmla="*/ 23 w 100"/>
                <a:gd name="T11" fmla="*/ 5 h 80"/>
                <a:gd name="T12" fmla="*/ 90 w 100"/>
                <a:gd name="T13" fmla="*/ 36 h 80"/>
                <a:gd name="T14" fmla="*/ 100 w 100"/>
                <a:gd name="T15" fmla="*/ 49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00" h="80">
                  <a:moveTo>
                    <a:pt x="100" y="49"/>
                  </a:moveTo>
                  <a:cubicBezTo>
                    <a:pt x="97" y="62"/>
                    <a:pt x="95" y="69"/>
                    <a:pt x="84" y="74"/>
                  </a:cubicBezTo>
                  <a:cubicBezTo>
                    <a:pt x="77" y="80"/>
                    <a:pt x="72" y="77"/>
                    <a:pt x="64" y="72"/>
                  </a:cubicBezTo>
                  <a:cubicBezTo>
                    <a:pt x="46" y="59"/>
                    <a:pt x="28" y="44"/>
                    <a:pt x="7" y="31"/>
                  </a:cubicBezTo>
                  <a:cubicBezTo>
                    <a:pt x="0" y="26"/>
                    <a:pt x="0" y="21"/>
                    <a:pt x="2" y="13"/>
                  </a:cubicBezTo>
                  <a:cubicBezTo>
                    <a:pt x="7" y="3"/>
                    <a:pt x="13" y="0"/>
                    <a:pt x="23" y="5"/>
                  </a:cubicBezTo>
                  <a:cubicBezTo>
                    <a:pt x="46" y="15"/>
                    <a:pt x="66" y="26"/>
                    <a:pt x="90" y="36"/>
                  </a:cubicBezTo>
                  <a:cubicBezTo>
                    <a:pt x="95" y="39"/>
                    <a:pt x="97" y="44"/>
                    <a:pt x="100" y="49"/>
                  </a:cubicBezTo>
                  <a:close/>
                </a:path>
              </a:pathLst>
            </a:custGeom>
            <a:solidFill>
              <a:srgbClr val="FBB32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3" name="Freeform 46"/>
            <p:cNvSpPr>
              <a:spLocks/>
            </p:cNvSpPr>
            <p:nvPr/>
          </p:nvSpPr>
          <p:spPr bwMode="auto">
            <a:xfrm>
              <a:off x="339" y="4096"/>
              <a:ext cx="16" cy="14"/>
            </a:xfrm>
            <a:custGeom>
              <a:avLst/>
              <a:gdLst>
                <a:gd name="T0" fmla="*/ 102 w 102"/>
                <a:gd name="T1" fmla="*/ 54 h 82"/>
                <a:gd name="T2" fmla="*/ 84 w 102"/>
                <a:gd name="T3" fmla="*/ 74 h 82"/>
                <a:gd name="T4" fmla="*/ 64 w 102"/>
                <a:gd name="T5" fmla="*/ 69 h 82"/>
                <a:gd name="T6" fmla="*/ 7 w 102"/>
                <a:gd name="T7" fmla="*/ 31 h 82"/>
                <a:gd name="T8" fmla="*/ 2 w 102"/>
                <a:gd name="T9" fmla="*/ 13 h 82"/>
                <a:gd name="T10" fmla="*/ 23 w 102"/>
                <a:gd name="T11" fmla="*/ 5 h 82"/>
                <a:gd name="T12" fmla="*/ 90 w 102"/>
                <a:gd name="T13" fmla="*/ 36 h 82"/>
                <a:gd name="T14" fmla="*/ 102 w 102"/>
                <a:gd name="T15" fmla="*/ 54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02" h="82">
                  <a:moveTo>
                    <a:pt x="102" y="54"/>
                  </a:moveTo>
                  <a:cubicBezTo>
                    <a:pt x="95" y="62"/>
                    <a:pt x="92" y="69"/>
                    <a:pt x="84" y="74"/>
                  </a:cubicBezTo>
                  <a:cubicBezTo>
                    <a:pt x="77" y="82"/>
                    <a:pt x="69" y="74"/>
                    <a:pt x="64" y="69"/>
                  </a:cubicBezTo>
                  <a:cubicBezTo>
                    <a:pt x="46" y="56"/>
                    <a:pt x="25" y="44"/>
                    <a:pt x="7" y="31"/>
                  </a:cubicBezTo>
                  <a:cubicBezTo>
                    <a:pt x="0" y="26"/>
                    <a:pt x="0" y="21"/>
                    <a:pt x="2" y="13"/>
                  </a:cubicBezTo>
                  <a:cubicBezTo>
                    <a:pt x="7" y="5"/>
                    <a:pt x="13" y="0"/>
                    <a:pt x="23" y="5"/>
                  </a:cubicBezTo>
                  <a:cubicBezTo>
                    <a:pt x="46" y="15"/>
                    <a:pt x="66" y="26"/>
                    <a:pt x="90" y="36"/>
                  </a:cubicBezTo>
                  <a:cubicBezTo>
                    <a:pt x="95" y="39"/>
                    <a:pt x="97" y="46"/>
                    <a:pt x="102" y="54"/>
                  </a:cubicBezTo>
                  <a:close/>
                </a:path>
              </a:pathLst>
            </a:custGeom>
            <a:solidFill>
              <a:srgbClr val="FBB32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4" name="Freeform 47"/>
            <p:cNvSpPr>
              <a:spLocks/>
            </p:cNvSpPr>
            <p:nvPr/>
          </p:nvSpPr>
          <p:spPr bwMode="auto">
            <a:xfrm>
              <a:off x="522" y="4078"/>
              <a:ext cx="16" cy="13"/>
            </a:xfrm>
            <a:custGeom>
              <a:avLst/>
              <a:gdLst>
                <a:gd name="T0" fmla="*/ 0 w 102"/>
                <a:gd name="T1" fmla="*/ 57 h 80"/>
                <a:gd name="T2" fmla="*/ 7 w 102"/>
                <a:gd name="T3" fmla="*/ 49 h 80"/>
                <a:gd name="T4" fmla="*/ 69 w 102"/>
                <a:gd name="T5" fmla="*/ 6 h 80"/>
                <a:gd name="T6" fmla="*/ 95 w 102"/>
                <a:gd name="T7" fmla="*/ 16 h 80"/>
                <a:gd name="T8" fmla="*/ 90 w 102"/>
                <a:gd name="T9" fmla="*/ 44 h 80"/>
                <a:gd name="T10" fmla="*/ 23 w 102"/>
                <a:gd name="T11" fmla="*/ 75 h 80"/>
                <a:gd name="T12" fmla="*/ 0 w 102"/>
                <a:gd name="T13" fmla="*/ 57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2" h="80">
                  <a:moveTo>
                    <a:pt x="0" y="57"/>
                  </a:moveTo>
                  <a:cubicBezTo>
                    <a:pt x="2" y="57"/>
                    <a:pt x="2" y="52"/>
                    <a:pt x="7" y="49"/>
                  </a:cubicBezTo>
                  <a:cubicBezTo>
                    <a:pt x="28" y="36"/>
                    <a:pt x="48" y="21"/>
                    <a:pt x="69" y="6"/>
                  </a:cubicBezTo>
                  <a:cubicBezTo>
                    <a:pt x="79" y="0"/>
                    <a:pt x="90" y="6"/>
                    <a:pt x="95" y="16"/>
                  </a:cubicBezTo>
                  <a:cubicBezTo>
                    <a:pt x="102" y="29"/>
                    <a:pt x="100" y="39"/>
                    <a:pt x="90" y="44"/>
                  </a:cubicBezTo>
                  <a:cubicBezTo>
                    <a:pt x="66" y="54"/>
                    <a:pt x="46" y="64"/>
                    <a:pt x="23" y="75"/>
                  </a:cubicBezTo>
                  <a:cubicBezTo>
                    <a:pt x="13" y="80"/>
                    <a:pt x="2" y="72"/>
                    <a:pt x="0" y="57"/>
                  </a:cubicBezTo>
                  <a:close/>
                </a:path>
              </a:pathLst>
            </a:custGeom>
            <a:solidFill>
              <a:srgbClr val="FBB32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5" name="Freeform 48"/>
            <p:cNvSpPr>
              <a:spLocks/>
            </p:cNvSpPr>
            <p:nvPr/>
          </p:nvSpPr>
          <p:spPr bwMode="auto">
            <a:xfrm>
              <a:off x="328" y="4067"/>
              <a:ext cx="8" cy="18"/>
            </a:xfrm>
            <a:custGeom>
              <a:avLst/>
              <a:gdLst>
                <a:gd name="T0" fmla="*/ 23 w 46"/>
                <a:gd name="T1" fmla="*/ 3 h 108"/>
                <a:gd name="T2" fmla="*/ 43 w 46"/>
                <a:gd name="T3" fmla="*/ 26 h 108"/>
                <a:gd name="T4" fmla="*/ 38 w 46"/>
                <a:gd name="T5" fmla="*/ 90 h 108"/>
                <a:gd name="T6" fmla="*/ 23 w 46"/>
                <a:gd name="T7" fmla="*/ 108 h 108"/>
                <a:gd name="T8" fmla="*/ 7 w 46"/>
                <a:gd name="T9" fmla="*/ 93 h 108"/>
                <a:gd name="T10" fmla="*/ 2 w 46"/>
                <a:gd name="T11" fmla="*/ 18 h 108"/>
                <a:gd name="T12" fmla="*/ 23 w 46"/>
                <a:gd name="T13" fmla="*/ 3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6" h="108">
                  <a:moveTo>
                    <a:pt x="23" y="3"/>
                  </a:moveTo>
                  <a:cubicBezTo>
                    <a:pt x="41" y="3"/>
                    <a:pt x="46" y="11"/>
                    <a:pt x="43" y="26"/>
                  </a:cubicBezTo>
                  <a:cubicBezTo>
                    <a:pt x="43" y="46"/>
                    <a:pt x="41" y="70"/>
                    <a:pt x="38" y="90"/>
                  </a:cubicBezTo>
                  <a:cubicBezTo>
                    <a:pt x="38" y="103"/>
                    <a:pt x="33" y="108"/>
                    <a:pt x="23" y="108"/>
                  </a:cubicBezTo>
                  <a:cubicBezTo>
                    <a:pt x="15" y="108"/>
                    <a:pt x="10" y="103"/>
                    <a:pt x="7" y="93"/>
                  </a:cubicBezTo>
                  <a:cubicBezTo>
                    <a:pt x="5" y="67"/>
                    <a:pt x="5" y="44"/>
                    <a:pt x="2" y="18"/>
                  </a:cubicBezTo>
                  <a:cubicBezTo>
                    <a:pt x="0" y="8"/>
                    <a:pt x="10" y="0"/>
                    <a:pt x="23" y="3"/>
                  </a:cubicBezTo>
                  <a:close/>
                </a:path>
              </a:pathLst>
            </a:custGeom>
            <a:solidFill>
              <a:srgbClr val="FBB32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6" name="Freeform 49"/>
            <p:cNvSpPr>
              <a:spLocks/>
            </p:cNvSpPr>
            <p:nvPr/>
          </p:nvSpPr>
          <p:spPr bwMode="auto">
            <a:xfrm>
              <a:off x="308" y="4078"/>
              <a:ext cx="17" cy="13"/>
            </a:xfrm>
            <a:custGeom>
              <a:avLst/>
              <a:gdLst>
                <a:gd name="T0" fmla="*/ 103 w 103"/>
                <a:gd name="T1" fmla="*/ 57 h 80"/>
                <a:gd name="T2" fmla="*/ 80 w 103"/>
                <a:gd name="T3" fmla="*/ 75 h 80"/>
                <a:gd name="T4" fmla="*/ 16 w 103"/>
                <a:gd name="T5" fmla="*/ 44 h 80"/>
                <a:gd name="T6" fmla="*/ 8 w 103"/>
                <a:gd name="T7" fmla="*/ 16 h 80"/>
                <a:gd name="T8" fmla="*/ 36 w 103"/>
                <a:gd name="T9" fmla="*/ 8 h 80"/>
                <a:gd name="T10" fmla="*/ 95 w 103"/>
                <a:gd name="T11" fmla="*/ 49 h 80"/>
                <a:gd name="T12" fmla="*/ 103 w 103"/>
                <a:gd name="T13" fmla="*/ 57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3" h="80">
                  <a:moveTo>
                    <a:pt x="103" y="57"/>
                  </a:moveTo>
                  <a:cubicBezTo>
                    <a:pt x="103" y="72"/>
                    <a:pt x="93" y="80"/>
                    <a:pt x="80" y="75"/>
                  </a:cubicBezTo>
                  <a:cubicBezTo>
                    <a:pt x="59" y="64"/>
                    <a:pt x="36" y="54"/>
                    <a:pt x="16" y="44"/>
                  </a:cubicBezTo>
                  <a:cubicBezTo>
                    <a:pt x="3" y="39"/>
                    <a:pt x="0" y="29"/>
                    <a:pt x="8" y="16"/>
                  </a:cubicBezTo>
                  <a:cubicBezTo>
                    <a:pt x="16" y="3"/>
                    <a:pt x="26" y="0"/>
                    <a:pt x="36" y="8"/>
                  </a:cubicBezTo>
                  <a:cubicBezTo>
                    <a:pt x="57" y="21"/>
                    <a:pt x="77" y="36"/>
                    <a:pt x="95" y="49"/>
                  </a:cubicBezTo>
                  <a:cubicBezTo>
                    <a:pt x="100" y="52"/>
                    <a:pt x="100" y="57"/>
                    <a:pt x="103" y="57"/>
                  </a:cubicBezTo>
                  <a:close/>
                </a:path>
              </a:pathLst>
            </a:custGeom>
            <a:solidFill>
              <a:srgbClr val="FBB32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7" name="Freeform 50"/>
            <p:cNvSpPr>
              <a:spLocks/>
            </p:cNvSpPr>
            <p:nvPr/>
          </p:nvSpPr>
          <p:spPr bwMode="auto">
            <a:xfrm>
              <a:off x="244" y="3720"/>
              <a:ext cx="61" cy="48"/>
            </a:xfrm>
            <a:custGeom>
              <a:avLst/>
              <a:gdLst>
                <a:gd name="T0" fmla="*/ 0 w 369"/>
                <a:gd name="T1" fmla="*/ 0 h 292"/>
                <a:gd name="T2" fmla="*/ 59 w 369"/>
                <a:gd name="T3" fmla="*/ 3 h 292"/>
                <a:gd name="T4" fmla="*/ 66 w 369"/>
                <a:gd name="T5" fmla="*/ 10 h 292"/>
                <a:gd name="T6" fmla="*/ 105 w 369"/>
                <a:gd name="T7" fmla="*/ 213 h 292"/>
                <a:gd name="T8" fmla="*/ 105 w 369"/>
                <a:gd name="T9" fmla="*/ 221 h 292"/>
                <a:gd name="T10" fmla="*/ 156 w 369"/>
                <a:gd name="T11" fmla="*/ 0 h 292"/>
                <a:gd name="T12" fmla="*/ 215 w 369"/>
                <a:gd name="T13" fmla="*/ 3 h 292"/>
                <a:gd name="T14" fmla="*/ 223 w 369"/>
                <a:gd name="T15" fmla="*/ 8 h 292"/>
                <a:gd name="T16" fmla="*/ 266 w 369"/>
                <a:gd name="T17" fmla="*/ 216 h 292"/>
                <a:gd name="T18" fmla="*/ 269 w 369"/>
                <a:gd name="T19" fmla="*/ 198 h 292"/>
                <a:gd name="T20" fmla="*/ 307 w 369"/>
                <a:gd name="T21" fmla="*/ 10 h 292"/>
                <a:gd name="T22" fmla="*/ 317 w 369"/>
                <a:gd name="T23" fmla="*/ 0 h 292"/>
                <a:gd name="T24" fmla="*/ 369 w 369"/>
                <a:gd name="T25" fmla="*/ 0 h 292"/>
                <a:gd name="T26" fmla="*/ 366 w 369"/>
                <a:gd name="T27" fmla="*/ 16 h 292"/>
                <a:gd name="T28" fmla="*/ 297 w 369"/>
                <a:gd name="T29" fmla="*/ 280 h 292"/>
                <a:gd name="T30" fmla="*/ 284 w 369"/>
                <a:gd name="T31" fmla="*/ 290 h 292"/>
                <a:gd name="T32" fmla="*/ 248 w 369"/>
                <a:gd name="T33" fmla="*/ 287 h 292"/>
                <a:gd name="T34" fmla="*/ 223 w 369"/>
                <a:gd name="T35" fmla="*/ 251 h 292"/>
                <a:gd name="T36" fmla="*/ 187 w 369"/>
                <a:gd name="T37" fmla="*/ 85 h 292"/>
                <a:gd name="T38" fmla="*/ 187 w 369"/>
                <a:gd name="T39" fmla="*/ 77 h 292"/>
                <a:gd name="T40" fmla="*/ 164 w 369"/>
                <a:gd name="T41" fmla="*/ 177 h 292"/>
                <a:gd name="T42" fmla="*/ 138 w 369"/>
                <a:gd name="T43" fmla="*/ 282 h 292"/>
                <a:gd name="T44" fmla="*/ 128 w 369"/>
                <a:gd name="T45" fmla="*/ 290 h 292"/>
                <a:gd name="T46" fmla="*/ 97 w 369"/>
                <a:gd name="T47" fmla="*/ 290 h 292"/>
                <a:gd name="T48" fmla="*/ 64 w 369"/>
                <a:gd name="T49" fmla="*/ 262 h 292"/>
                <a:gd name="T50" fmla="*/ 46 w 369"/>
                <a:gd name="T51" fmla="*/ 195 h 292"/>
                <a:gd name="T52" fmla="*/ 0 w 369"/>
                <a:gd name="T53" fmla="*/ 8 h 292"/>
                <a:gd name="T54" fmla="*/ 0 w 369"/>
                <a:gd name="T55" fmla="*/ 0 h 2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369" h="292">
                  <a:moveTo>
                    <a:pt x="0" y="0"/>
                  </a:moveTo>
                  <a:cubicBezTo>
                    <a:pt x="20" y="0"/>
                    <a:pt x="41" y="0"/>
                    <a:pt x="59" y="3"/>
                  </a:cubicBezTo>
                  <a:cubicBezTo>
                    <a:pt x="61" y="3"/>
                    <a:pt x="66" y="5"/>
                    <a:pt x="66" y="10"/>
                  </a:cubicBezTo>
                  <a:cubicBezTo>
                    <a:pt x="79" y="77"/>
                    <a:pt x="92" y="144"/>
                    <a:pt x="105" y="213"/>
                  </a:cubicBezTo>
                  <a:cubicBezTo>
                    <a:pt x="105" y="213"/>
                    <a:pt x="105" y="216"/>
                    <a:pt x="105" y="221"/>
                  </a:cubicBezTo>
                  <a:cubicBezTo>
                    <a:pt x="123" y="146"/>
                    <a:pt x="138" y="75"/>
                    <a:pt x="156" y="0"/>
                  </a:cubicBezTo>
                  <a:cubicBezTo>
                    <a:pt x="176" y="0"/>
                    <a:pt x="194" y="0"/>
                    <a:pt x="215" y="3"/>
                  </a:cubicBezTo>
                  <a:cubicBezTo>
                    <a:pt x="217" y="3"/>
                    <a:pt x="220" y="5"/>
                    <a:pt x="223" y="8"/>
                  </a:cubicBezTo>
                  <a:cubicBezTo>
                    <a:pt x="235" y="77"/>
                    <a:pt x="251" y="146"/>
                    <a:pt x="266" y="216"/>
                  </a:cubicBezTo>
                  <a:cubicBezTo>
                    <a:pt x="266" y="210"/>
                    <a:pt x="269" y="205"/>
                    <a:pt x="269" y="198"/>
                  </a:cubicBezTo>
                  <a:cubicBezTo>
                    <a:pt x="282" y="136"/>
                    <a:pt x="294" y="75"/>
                    <a:pt x="307" y="10"/>
                  </a:cubicBezTo>
                  <a:cubicBezTo>
                    <a:pt x="307" y="3"/>
                    <a:pt x="310" y="0"/>
                    <a:pt x="317" y="0"/>
                  </a:cubicBezTo>
                  <a:cubicBezTo>
                    <a:pt x="335" y="3"/>
                    <a:pt x="351" y="0"/>
                    <a:pt x="369" y="0"/>
                  </a:cubicBezTo>
                  <a:cubicBezTo>
                    <a:pt x="369" y="8"/>
                    <a:pt x="369" y="10"/>
                    <a:pt x="366" y="16"/>
                  </a:cubicBezTo>
                  <a:cubicBezTo>
                    <a:pt x="343" y="103"/>
                    <a:pt x="320" y="192"/>
                    <a:pt x="297" y="280"/>
                  </a:cubicBezTo>
                  <a:cubicBezTo>
                    <a:pt x="294" y="287"/>
                    <a:pt x="292" y="290"/>
                    <a:pt x="284" y="290"/>
                  </a:cubicBezTo>
                  <a:cubicBezTo>
                    <a:pt x="271" y="290"/>
                    <a:pt x="259" y="290"/>
                    <a:pt x="248" y="287"/>
                  </a:cubicBezTo>
                  <a:cubicBezTo>
                    <a:pt x="233" y="282"/>
                    <a:pt x="225" y="267"/>
                    <a:pt x="223" y="251"/>
                  </a:cubicBezTo>
                  <a:cubicBezTo>
                    <a:pt x="210" y="195"/>
                    <a:pt x="200" y="141"/>
                    <a:pt x="187" y="85"/>
                  </a:cubicBezTo>
                  <a:cubicBezTo>
                    <a:pt x="187" y="82"/>
                    <a:pt x="187" y="80"/>
                    <a:pt x="187" y="77"/>
                  </a:cubicBezTo>
                  <a:cubicBezTo>
                    <a:pt x="176" y="110"/>
                    <a:pt x="171" y="144"/>
                    <a:pt x="164" y="177"/>
                  </a:cubicBezTo>
                  <a:cubicBezTo>
                    <a:pt x="153" y="210"/>
                    <a:pt x="146" y="246"/>
                    <a:pt x="138" y="282"/>
                  </a:cubicBezTo>
                  <a:cubicBezTo>
                    <a:pt x="135" y="287"/>
                    <a:pt x="133" y="290"/>
                    <a:pt x="128" y="290"/>
                  </a:cubicBezTo>
                  <a:cubicBezTo>
                    <a:pt x="118" y="290"/>
                    <a:pt x="107" y="292"/>
                    <a:pt x="97" y="290"/>
                  </a:cubicBezTo>
                  <a:cubicBezTo>
                    <a:pt x="79" y="290"/>
                    <a:pt x="69" y="277"/>
                    <a:pt x="64" y="262"/>
                  </a:cubicBezTo>
                  <a:cubicBezTo>
                    <a:pt x="56" y="239"/>
                    <a:pt x="51" y="216"/>
                    <a:pt x="46" y="195"/>
                  </a:cubicBezTo>
                  <a:cubicBezTo>
                    <a:pt x="30" y="131"/>
                    <a:pt x="15" y="69"/>
                    <a:pt x="0" y="8"/>
                  </a:cubicBezTo>
                  <a:cubicBezTo>
                    <a:pt x="0" y="5"/>
                    <a:pt x="0" y="5"/>
                    <a:pt x="0" y="0"/>
                  </a:cubicBezTo>
                  <a:close/>
                </a:path>
              </a:pathLst>
            </a:custGeom>
            <a:solidFill>
              <a:srgbClr val="FEFE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8" name="Freeform 51"/>
            <p:cNvSpPr>
              <a:spLocks/>
            </p:cNvSpPr>
            <p:nvPr/>
          </p:nvSpPr>
          <p:spPr bwMode="auto">
            <a:xfrm>
              <a:off x="356" y="3728"/>
              <a:ext cx="54" cy="39"/>
            </a:xfrm>
            <a:custGeom>
              <a:avLst/>
              <a:gdLst>
                <a:gd name="T0" fmla="*/ 323 w 323"/>
                <a:gd name="T1" fmla="*/ 238 h 238"/>
                <a:gd name="T2" fmla="*/ 265 w 323"/>
                <a:gd name="T3" fmla="*/ 238 h 238"/>
                <a:gd name="T4" fmla="*/ 265 w 323"/>
                <a:gd name="T5" fmla="*/ 228 h 238"/>
                <a:gd name="T6" fmla="*/ 265 w 323"/>
                <a:gd name="T7" fmla="*/ 123 h 238"/>
                <a:gd name="T8" fmla="*/ 259 w 323"/>
                <a:gd name="T9" fmla="*/ 95 h 238"/>
                <a:gd name="T10" fmla="*/ 229 w 323"/>
                <a:gd name="T11" fmla="*/ 69 h 238"/>
                <a:gd name="T12" fmla="*/ 195 w 323"/>
                <a:gd name="T13" fmla="*/ 92 h 238"/>
                <a:gd name="T14" fmla="*/ 190 w 323"/>
                <a:gd name="T15" fmla="*/ 115 h 238"/>
                <a:gd name="T16" fmla="*/ 190 w 323"/>
                <a:gd name="T17" fmla="*/ 238 h 238"/>
                <a:gd name="T18" fmla="*/ 131 w 323"/>
                <a:gd name="T19" fmla="*/ 238 h 238"/>
                <a:gd name="T20" fmla="*/ 131 w 323"/>
                <a:gd name="T21" fmla="*/ 143 h 238"/>
                <a:gd name="T22" fmla="*/ 131 w 323"/>
                <a:gd name="T23" fmla="*/ 100 h 238"/>
                <a:gd name="T24" fmla="*/ 106 w 323"/>
                <a:gd name="T25" fmla="*/ 69 h 238"/>
                <a:gd name="T26" fmla="*/ 67 w 323"/>
                <a:gd name="T27" fmla="*/ 90 h 238"/>
                <a:gd name="T28" fmla="*/ 59 w 323"/>
                <a:gd name="T29" fmla="*/ 115 h 238"/>
                <a:gd name="T30" fmla="*/ 59 w 323"/>
                <a:gd name="T31" fmla="*/ 228 h 238"/>
                <a:gd name="T32" fmla="*/ 59 w 323"/>
                <a:gd name="T33" fmla="*/ 238 h 238"/>
                <a:gd name="T34" fmla="*/ 0 w 323"/>
                <a:gd name="T35" fmla="*/ 238 h 238"/>
                <a:gd name="T36" fmla="*/ 0 w 323"/>
                <a:gd name="T37" fmla="*/ 26 h 238"/>
                <a:gd name="T38" fmla="*/ 57 w 323"/>
                <a:gd name="T39" fmla="*/ 26 h 238"/>
                <a:gd name="T40" fmla="*/ 57 w 323"/>
                <a:gd name="T41" fmla="*/ 51 h 238"/>
                <a:gd name="T42" fmla="*/ 180 w 323"/>
                <a:gd name="T43" fmla="*/ 56 h 238"/>
                <a:gd name="T44" fmla="*/ 193 w 323"/>
                <a:gd name="T45" fmla="*/ 41 h 238"/>
                <a:gd name="T46" fmla="*/ 275 w 323"/>
                <a:gd name="T47" fmla="*/ 23 h 238"/>
                <a:gd name="T48" fmla="*/ 321 w 323"/>
                <a:gd name="T49" fmla="*/ 87 h 238"/>
                <a:gd name="T50" fmla="*/ 323 w 323"/>
                <a:gd name="T51" fmla="*/ 154 h 238"/>
                <a:gd name="T52" fmla="*/ 323 w 323"/>
                <a:gd name="T53" fmla="*/ 238 h 2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323" h="238">
                  <a:moveTo>
                    <a:pt x="323" y="238"/>
                  </a:moveTo>
                  <a:cubicBezTo>
                    <a:pt x="303" y="238"/>
                    <a:pt x="282" y="238"/>
                    <a:pt x="265" y="238"/>
                  </a:cubicBezTo>
                  <a:cubicBezTo>
                    <a:pt x="265" y="236"/>
                    <a:pt x="265" y="231"/>
                    <a:pt x="265" y="228"/>
                  </a:cubicBezTo>
                  <a:cubicBezTo>
                    <a:pt x="265" y="192"/>
                    <a:pt x="265" y="159"/>
                    <a:pt x="265" y="123"/>
                  </a:cubicBezTo>
                  <a:cubicBezTo>
                    <a:pt x="262" y="113"/>
                    <a:pt x="262" y="102"/>
                    <a:pt x="259" y="95"/>
                  </a:cubicBezTo>
                  <a:cubicBezTo>
                    <a:pt x="254" y="77"/>
                    <a:pt x="244" y="69"/>
                    <a:pt x="229" y="69"/>
                  </a:cubicBezTo>
                  <a:cubicBezTo>
                    <a:pt x="213" y="69"/>
                    <a:pt x="200" y="77"/>
                    <a:pt x="195" y="92"/>
                  </a:cubicBezTo>
                  <a:cubicBezTo>
                    <a:pt x="193" y="100"/>
                    <a:pt x="190" y="108"/>
                    <a:pt x="190" y="115"/>
                  </a:cubicBezTo>
                  <a:cubicBezTo>
                    <a:pt x="190" y="156"/>
                    <a:pt x="190" y="197"/>
                    <a:pt x="190" y="238"/>
                  </a:cubicBezTo>
                  <a:cubicBezTo>
                    <a:pt x="172" y="238"/>
                    <a:pt x="152" y="238"/>
                    <a:pt x="131" y="238"/>
                  </a:cubicBezTo>
                  <a:cubicBezTo>
                    <a:pt x="131" y="208"/>
                    <a:pt x="134" y="177"/>
                    <a:pt x="131" y="143"/>
                  </a:cubicBezTo>
                  <a:cubicBezTo>
                    <a:pt x="131" y="128"/>
                    <a:pt x="131" y="115"/>
                    <a:pt x="131" y="100"/>
                  </a:cubicBezTo>
                  <a:cubicBezTo>
                    <a:pt x="129" y="82"/>
                    <a:pt x="118" y="72"/>
                    <a:pt x="106" y="69"/>
                  </a:cubicBezTo>
                  <a:cubicBezTo>
                    <a:pt x="88" y="67"/>
                    <a:pt x="75" y="74"/>
                    <a:pt x="67" y="90"/>
                  </a:cubicBezTo>
                  <a:cubicBezTo>
                    <a:pt x="62" y="97"/>
                    <a:pt x="59" y="105"/>
                    <a:pt x="59" y="115"/>
                  </a:cubicBezTo>
                  <a:cubicBezTo>
                    <a:pt x="59" y="151"/>
                    <a:pt x="59" y="190"/>
                    <a:pt x="59" y="228"/>
                  </a:cubicBezTo>
                  <a:cubicBezTo>
                    <a:pt x="59" y="231"/>
                    <a:pt x="59" y="236"/>
                    <a:pt x="59" y="238"/>
                  </a:cubicBezTo>
                  <a:cubicBezTo>
                    <a:pt x="39" y="238"/>
                    <a:pt x="21" y="238"/>
                    <a:pt x="0" y="238"/>
                  </a:cubicBezTo>
                  <a:cubicBezTo>
                    <a:pt x="0" y="169"/>
                    <a:pt x="0" y="97"/>
                    <a:pt x="0" y="26"/>
                  </a:cubicBezTo>
                  <a:cubicBezTo>
                    <a:pt x="18" y="26"/>
                    <a:pt x="36" y="26"/>
                    <a:pt x="57" y="26"/>
                  </a:cubicBezTo>
                  <a:cubicBezTo>
                    <a:pt x="57" y="33"/>
                    <a:pt x="57" y="41"/>
                    <a:pt x="57" y="51"/>
                  </a:cubicBezTo>
                  <a:cubicBezTo>
                    <a:pt x="93" y="0"/>
                    <a:pt x="162" y="15"/>
                    <a:pt x="180" y="56"/>
                  </a:cubicBezTo>
                  <a:cubicBezTo>
                    <a:pt x="185" y="51"/>
                    <a:pt x="188" y="46"/>
                    <a:pt x="193" y="41"/>
                  </a:cubicBezTo>
                  <a:cubicBezTo>
                    <a:pt x="216" y="20"/>
                    <a:pt x="244" y="13"/>
                    <a:pt x="275" y="23"/>
                  </a:cubicBezTo>
                  <a:cubicBezTo>
                    <a:pt x="303" y="33"/>
                    <a:pt x="316" y="59"/>
                    <a:pt x="321" y="87"/>
                  </a:cubicBezTo>
                  <a:cubicBezTo>
                    <a:pt x="323" y="110"/>
                    <a:pt x="321" y="131"/>
                    <a:pt x="323" y="154"/>
                  </a:cubicBezTo>
                  <a:cubicBezTo>
                    <a:pt x="323" y="182"/>
                    <a:pt x="323" y="210"/>
                    <a:pt x="323" y="238"/>
                  </a:cubicBezTo>
                  <a:close/>
                </a:path>
              </a:pathLst>
            </a:custGeom>
            <a:solidFill>
              <a:srgbClr val="FEFE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9" name="Freeform 52"/>
            <p:cNvSpPr>
              <a:spLocks/>
            </p:cNvSpPr>
            <p:nvPr/>
          </p:nvSpPr>
          <p:spPr bwMode="auto">
            <a:xfrm>
              <a:off x="302" y="3731"/>
              <a:ext cx="32" cy="38"/>
            </a:xfrm>
            <a:custGeom>
              <a:avLst/>
              <a:gdLst>
                <a:gd name="T0" fmla="*/ 133 w 195"/>
                <a:gd name="T1" fmla="*/ 79 h 231"/>
                <a:gd name="T2" fmla="*/ 102 w 195"/>
                <a:gd name="T3" fmla="*/ 43 h 231"/>
                <a:gd name="T4" fmla="*/ 33 w 195"/>
                <a:gd name="T5" fmla="*/ 59 h 231"/>
                <a:gd name="T6" fmla="*/ 20 w 195"/>
                <a:gd name="T7" fmla="*/ 18 h 231"/>
                <a:gd name="T8" fmla="*/ 64 w 195"/>
                <a:gd name="T9" fmla="*/ 5 h 231"/>
                <a:gd name="T10" fmla="*/ 120 w 195"/>
                <a:gd name="T11" fmla="*/ 2 h 231"/>
                <a:gd name="T12" fmla="*/ 192 w 195"/>
                <a:gd name="T13" fmla="*/ 90 h 231"/>
                <a:gd name="T14" fmla="*/ 195 w 195"/>
                <a:gd name="T15" fmla="*/ 190 h 231"/>
                <a:gd name="T16" fmla="*/ 195 w 195"/>
                <a:gd name="T17" fmla="*/ 220 h 231"/>
                <a:gd name="T18" fmla="*/ 138 w 195"/>
                <a:gd name="T19" fmla="*/ 200 h 231"/>
                <a:gd name="T20" fmla="*/ 72 w 195"/>
                <a:gd name="T21" fmla="*/ 225 h 231"/>
                <a:gd name="T22" fmla="*/ 7 w 195"/>
                <a:gd name="T23" fmla="*/ 182 h 231"/>
                <a:gd name="T24" fmla="*/ 36 w 195"/>
                <a:gd name="T25" fmla="*/ 102 h 231"/>
                <a:gd name="T26" fmla="*/ 100 w 195"/>
                <a:gd name="T27" fmla="*/ 82 h 231"/>
                <a:gd name="T28" fmla="*/ 133 w 195"/>
                <a:gd name="T29" fmla="*/ 79 h 2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95" h="231">
                  <a:moveTo>
                    <a:pt x="133" y="79"/>
                  </a:moveTo>
                  <a:cubicBezTo>
                    <a:pt x="131" y="59"/>
                    <a:pt x="123" y="46"/>
                    <a:pt x="102" y="43"/>
                  </a:cubicBezTo>
                  <a:cubicBezTo>
                    <a:pt x="79" y="41"/>
                    <a:pt x="56" y="49"/>
                    <a:pt x="33" y="59"/>
                  </a:cubicBezTo>
                  <a:cubicBezTo>
                    <a:pt x="28" y="46"/>
                    <a:pt x="25" y="33"/>
                    <a:pt x="20" y="18"/>
                  </a:cubicBezTo>
                  <a:cubicBezTo>
                    <a:pt x="36" y="13"/>
                    <a:pt x="48" y="8"/>
                    <a:pt x="64" y="5"/>
                  </a:cubicBezTo>
                  <a:cubicBezTo>
                    <a:pt x="82" y="2"/>
                    <a:pt x="102" y="0"/>
                    <a:pt x="120" y="2"/>
                  </a:cubicBezTo>
                  <a:cubicBezTo>
                    <a:pt x="166" y="8"/>
                    <a:pt x="192" y="38"/>
                    <a:pt x="192" y="90"/>
                  </a:cubicBezTo>
                  <a:cubicBezTo>
                    <a:pt x="195" y="123"/>
                    <a:pt x="192" y="156"/>
                    <a:pt x="195" y="190"/>
                  </a:cubicBezTo>
                  <a:cubicBezTo>
                    <a:pt x="195" y="200"/>
                    <a:pt x="195" y="210"/>
                    <a:pt x="195" y="220"/>
                  </a:cubicBezTo>
                  <a:cubicBezTo>
                    <a:pt x="174" y="231"/>
                    <a:pt x="154" y="225"/>
                    <a:pt x="138" y="200"/>
                  </a:cubicBezTo>
                  <a:cubicBezTo>
                    <a:pt x="120" y="218"/>
                    <a:pt x="97" y="228"/>
                    <a:pt x="72" y="225"/>
                  </a:cubicBezTo>
                  <a:cubicBezTo>
                    <a:pt x="41" y="225"/>
                    <a:pt x="18" y="208"/>
                    <a:pt x="7" y="182"/>
                  </a:cubicBezTo>
                  <a:cubicBezTo>
                    <a:pt x="0" y="151"/>
                    <a:pt x="10" y="120"/>
                    <a:pt x="36" y="102"/>
                  </a:cubicBezTo>
                  <a:cubicBezTo>
                    <a:pt x="54" y="90"/>
                    <a:pt x="77" y="84"/>
                    <a:pt x="100" y="82"/>
                  </a:cubicBezTo>
                  <a:cubicBezTo>
                    <a:pt x="110" y="79"/>
                    <a:pt x="120" y="79"/>
                    <a:pt x="133" y="79"/>
                  </a:cubicBezTo>
                  <a:close/>
                </a:path>
              </a:pathLst>
            </a:custGeom>
            <a:solidFill>
              <a:srgbClr val="FEFE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0" name="Freeform 53"/>
            <p:cNvSpPr>
              <a:spLocks/>
            </p:cNvSpPr>
            <p:nvPr/>
          </p:nvSpPr>
          <p:spPr bwMode="auto">
            <a:xfrm>
              <a:off x="412" y="3731"/>
              <a:ext cx="32" cy="39"/>
            </a:xfrm>
            <a:custGeom>
              <a:avLst/>
              <a:gdLst>
                <a:gd name="T0" fmla="*/ 193 w 193"/>
                <a:gd name="T1" fmla="*/ 221 h 231"/>
                <a:gd name="T2" fmla="*/ 136 w 193"/>
                <a:gd name="T3" fmla="*/ 198 h 231"/>
                <a:gd name="T4" fmla="*/ 90 w 193"/>
                <a:gd name="T5" fmla="*/ 223 h 231"/>
                <a:gd name="T6" fmla="*/ 6 w 193"/>
                <a:gd name="T7" fmla="*/ 164 h 231"/>
                <a:gd name="T8" fmla="*/ 49 w 193"/>
                <a:gd name="T9" fmla="*/ 93 h 231"/>
                <a:gd name="T10" fmla="*/ 123 w 193"/>
                <a:gd name="T11" fmla="*/ 77 h 231"/>
                <a:gd name="T12" fmla="*/ 131 w 193"/>
                <a:gd name="T13" fmla="*/ 77 h 231"/>
                <a:gd name="T14" fmla="*/ 103 w 193"/>
                <a:gd name="T15" fmla="*/ 41 h 231"/>
                <a:gd name="T16" fmla="*/ 31 w 193"/>
                <a:gd name="T17" fmla="*/ 57 h 231"/>
                <a:gd name="T18" fmla="*/ 18 w 193"/>
                <a:gd name="T19" fmla="*/ 18 h 231"/>
                <a:gd name="T20" fmla="*/ 54 w 193"/>
                <a:gd name="T21" fmla="*/ 6 h 231"/>
                <a:gd name="T22" fmla="*/ 116 w 193"/>
                <a:gd name="T23" fmla="*/ 0 h 231"/>
                <a:gd name="T24" fmla="*/ 190 w 193"/>
                <a:gd name="T25" fmla="*/ 75 h 231"/>
                <a:gd name="T26" fmla="*/ 193 w 193"/>
                <a:gd name="T27" fmla="*/ 141 h 231"/>
                <a:gd name="T28" fmla="*/ 193 w 193"/>
                <a:gd name="T29" fmla="*/ 221 h 2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93" h="231">
                  <a:moveTo>
                    <a:pt x="193" y="221"/>
                  </a:moveTo>
                  <a:cubicBezTo>
                    <a:pt x="167" y="229"/>
                    <a:pt x="149" y="221"/>
                    <a:pt x="136" y="198"/>
                  </a:cubicBezTo>
                  <a:cubicBezTo>
                    <a:pt x="123" y="211"/>
                    <a:pt x="108" y="221"/>
                    <a:pt x="90" y="223"/>
                  </a:cubicBezTo>
                  <a:cubicBezTo>
                    <a:pt x="47" y="231"/>
                    <a:pt x="8" y="206"/>
                    <a:pt x="6" y="164"/>
                  </a:cubicBezTo>
                  <a:cubicBezTo>
                    <a:pt x="0" y="134"/>
                    <a:pt x="18" y="106"/>
                    <a:pt x="49" y="93"/>
                  </a:cubicBezTo>
                  <a:cubicBezTo>
                    <a:pt x="72" y="80"/>
                    <a:pt x="98" y="77"/>
                    <a:pt x="123" y="77"/>
                  </a:cubicBezTo>
                  <a:cubicBezTo>
                    <a:pt x="126" y="77"/>
                    <a:pt x="129" y="77"/>
                    <a:pt x="131" y="77"/>
                  </a:cubicBezTo>
                  <a:cubicBezTo>
                    <a:pt x="131" y="57"/>
                    <a:pt x="121" y="47"/>
                    <a:pt x="103" y="41"/>
                  </a:cubicBezTo>
                  <a:cubicBezTo>
                    <a:pt x="77" y="39"/>
                    <a:pt x="54" y="47"/>
                    <a:pt x="31" y="57"/>
                  </a:cubicBezTo>
                  <a:cubicBezTo>
                    <a:pt x="26" y="44"/>
                    <a:pt x="23" y="31"/>
                    <a:pt x="18" y="18"/>
                  </a:cubicBezTo>
                  <a:cubicBezTo>
                    <a:pt x="31" y="13"/>
                    <a:pt x="41" y="8"/>
                    <a:pt x="54" y="6"/>
                  </a:cubicBezTo>
                  <a:cubicBezTo>
                    <a:pt x="75" y="3"/>
                    <a:pt x="95" y="0"/>
                    <a:pt x="116" y="0"/>
                  </a:cubicBezTo>
                  <a:cubicBezTo>
                    <a:pt x="159" y="3"/>
                    <a:pt x="188" y="31"/>
                    <a:pt x="190" y="75"/>
                  </a:cubicBezTo>
                  <a:cubicBezTo>
                    <a:pt x="193" y="98"/>
                    <a:pt x="190" y="118"/>
                    <a:pt x="193" y="141"/>
                  </a:cubicBezTo>
                  <a:cubicBezTo>
                    <a:pt x="193" y="167"/>
                    <a:pt x="193" y="193"/>
                    <a:pt x="193" y="221"/>
                  </a:cubicBezTo>
                  <a:close/>
                </a:path>
              </a:pathLst>
            </a:custGeom>
            <a:solidFill>
              <a:srgbClr val="FEFE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1" name="Freeform 54"/>
            <p:cNvSpPr>
              <a:spLocks/>
            </p:cNvSpPr>
            <p:nvPr/>
          </p:nvSpPr>
          <p:spPr bwMode="auto">
            <a:xfrm>
              <a:off x="475" y="3720"/>
              <a:ext cx="18" cy="49"/>
            </a:xfrm>
            <a:custGeom>
              <a:avLst/>
              <a:gdLst>
                <a:gd name="T0" fmla="*/ 0 w 107"/>
                <a:gd name="T1" fmla="*/ 0 h 292"/>
                <a:gd name="T2" fmla="*/ 59 w 107"/>
                <a:gd name="T3" fmla="*/ 0 h 292"/>
                <a:gd name="T4" fmla="*/ 59 w 107"/>
                <a:gd name="T5" fmla="*/ 66 h 292"/>
                <a:gd name="T6" fmla="*/ 107 w 107"/>
                <a:gd name="T7" fmla="*/ 66 h 292"/>
                <a:gd name="T8" fmla="*/ 107 w 107"/>
                <a:gd name="T9" fmla="*/ 123 h 292"/>
                <a:gd name="T10" fmla="*/ 59 w 107"/>
                <a:gd name="T11" fmla="*/ 123 h 292"/>
                <a:gd name="T12" fmla="*/ 59 w 107"/>
                <a:gd name="T13" fmla="*/ 218 h 292"/>
                <a:gd name="T14" fmla="*/ 87 w 107"/>
                <a:gd name="T15" fmla="*/ 241 h 292"/>
                <a:gd name="T16" fmla="*/ 107 w 107"/>
                <a:gd name="T17" fmla="*/ 238 h 292"/>
                <a:gd name="T18" fmla="*/ 107 w 107"/>
                <a:gd name="T19" fmla="*/ 279 h 292"/>
                <a:gd name="T20" fmla="*/ 102 w 107"/>
                <a:gd name="T21" fmla="*/ 287 h 292"/>
                <a:gd name="T22" fmla="*/ 41 w 107"/>
                <a:gd name="T23" fmla="*/ 287 h 292"/>
                <a:gd name="T24" fmla="*/ 2 w 107"/>
                <a:gd name="T25" fmla="*/ 233 h 292"/>
                <a:gd name="T26" fmla="*/ 0 w 107"/>
                <a:gd name="T27" fmla="*/ 202 h 292"/>
                <a:gd name="T28" fmla="*/ 0 w 107"/>
                <a:gd name="T29" fmla="*/ 13 h 292"/>
                <a:gd name="T30" fmla="*/ 0 w 107"/>
                <a:gd name="T31" fmla="*/ 0 h 2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07" h="292">
                  <a:moveTo>
                    <a:pt x="0" y="0"/>
                  </a:moveTo>
                  <a:cubicBezTo>
                    <a:pt x="20" y="0"/>
                    <a:pt x="38" y="0"/>
                    <a:pt x="59" y="0"/>
                  </a:cubicBezTo>
                  <a:cubicBezTo>
                    <a:pt x="59" y="20"/>
                    <a:pt x="59" y="43"/>
                    <a:pt x="59" y="66"/>
                  </a:cubicBezTo>
                  <a:cubicBezTo>
                    <a:pt x="74" y="66"/>
                    <a:pt x="92" y="66"/>
                    <a:pt x="107" y="66"/>
                  </a:cubicBezTo>
                  <a:cubicBezTo>
                    <a:pt x="107" y="84"/>
                    <a:pt x="107" y="102"/>
                    <a:pt x="107" y="123"/>
                  </a:cubicBezTo>
                  <a:cubicBezTo>
                    <a:pt x="92" y="123"/>
                    <a:pt x="77" y="123"/>
                    <a:pt x="59" y="123"/>
                  </a:cubicBezTo>
                  <a:cubicBezTo>
                    <a:pt x="59" y="154"/>
                    <a:pt x="59" y="187"/>
                    <a:pt x="59" y="218"/>
                  </a:cubicBezTo>
                  <a:cubicBezTo>
                    <a:pt x="61" y="236"/>
                    <a:pt x="72" y="241"/>
                    <a:pt x="87" y="241"/>
                  </a:cubicBezTo>
                  <a:cubicBezTo>
                    <a:pt x="95" y="241"/>
                    <a:pt x="100" y="241"/>
                    <a:pt x="107" y="238"/>
                  </a:cubicBezTo>
                  <a:cubicBezTo>
                    <a:pt x="107" y="254"/>
                    <a:pt x="107" y="266"/>
                    <a:pt x="107" y="279"/>
                  </a:cubicBezTo>
                  <a:cubicBezTo>
                    <a:pt x="107" y="282"/>
                    <a:pt x="105" y="284"/>
                    <a:pt x="102" y="287"/>
                  </a:cubicBezTo>
                  <a:cubicBezTo>
                    <a:pt x="82" y="292"/>
                    <a:pt x="61" y="292"/>
                    <a:pt x="41" y="287"/>
                  </a:cubicBezTo>
                  <a:cubicBezTo>
                    <a:pt x="15" y="279"/>
                    <a:pt x="5" y="259"/>
                    <a:pt x="2" y="233"/>
                  </a:cubicBezTo>
                  <a:cubicBezTo>
                    <a:pt x="0" y="223"/>
                    <a:pt x="0" y="213"/>
                    <a:pt x="0" y="202"/>
                  </a:cubicBezTo>
                  <a:cubicBezTo>
                    <a:pt x="0" y="138"/>
                    <a:pt x="0" y="74"/>
                    <a:pt x="0" y="13"/>
                  </a:cubicBezTo>
                  <a:cubicBezTo>
                    <a:pt x="0" y="7"/>
                    <a:pt x="0" y="5"/>
                    <a:pt x="0" y="0"/>
                  </a:cubicBezTo>
                  <a:close/>
                </a:path>
              </a:pathLst>
            </a:custGeom>
            <a:solidFill>
              <a:srgbClr val="FEFE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2" name="Freeform 55"/>
            <p:cNvSpPr>
              <a:spLocks/>
            </p:cNvSpPr>
            <p:nvPr/>
          </p:nvSpPr>
          <p:spPr bwMode="auto">
            <a:xfrm>
              <a:off x="451" y="3730"/>
              <a:ext cx="20" cy="37"/>
            </a:xfrm>
            <a:custGeom>
              <a:avLst/>
              <a:gdLst>
                <a:gd name="T0" fmla="*/ 51 w 126"/>
                <a:gd name="T1" fmla="*/ 11 h 223"/>
                <a:gd name="T2" fmla="*/ 51 w 126"/>
                <a:gd name="T3" fmla="*/ 49 h 223"/>
                <a:gd name="T4" fmla="*/ 126 w 126"/>
                <a:gd name="T5" fmla="*/ 5 h 223"/>
                <a:gd name="T6" fmla="*/ 126 w 126"/>
                <a:gd name="T7" fmla="*/ 62 h 223"/>
                <a:gd name="T8" fmla="*/ 108 w 126"/>
                <a:gd name="T9" fmla="*/ 62 h 223"/>
                <a:gd name="T10" fmla="*/ 62 w 126"/>
                <a:gd name="T11" fmla="*/ 105 h 223"/>
                <a:gd name="T12" fmla="*/ 59 w 126"/>
                <a:gd name="T13" fmla="*/ 213 h 223"/>
                <a:gd name="T14" fmla="*/ 59 w 126"/>
                <a:gd name="T15" fmla="*/ 223 h 223"/>
                <a:gd name="T16" fmla="*/ 0 w 126"/>
                <a:gd name="T17" fmla="*/ 223 h 223"/>
                <a:gd name="T18" fmla="*/ 0 w 126"/>
                <a:gd name="T19" fmla="*/ 11 h 223"/>
                <a:gd name="T20" fmla="*/ 51 w 126"/>
                <a:gd name="T21" fmla="*/ 11 h 2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26" h="223">
                  <a:moveTo>
                    <a:pt x="51" y="11"/>
                  </a:moveTo>
                  <a:cubicBezTo>
                    <a:pt x="51" y="23"/>
                    <a:pt x="51" y="34"/>
                    <a:pt x="51" y="49"/>
                  </a:cubicBezTo>
                  <a:cubicBezTo>
                    <a:pt x="69" y="16"/>
                    <a:pt x="90" y="0"/>
                    <a:pt x="126" y="5"/>
                  </a:cubicBezTo>
                  <a:cubicBezTo>
                    <a:pt x="126" y="23"/>
                    <a:pt x="126" y="41"/>
                    <a:pt x="126" y="62"/>
                  </a:cubicBezTo>
                  <a:cubicBezTo>
                    <a:pt x="121" y="62"/>
                    <a:pt x="113" y="62"/>
                    <a:pt x="108" y="62"/>
                  </a:cubicBezTo>
                  <a:cubicBezTo>
                    <a:pt x="80" y="62"/>
                    <a:pt x="62" y="77"/>
                    <a:pt x="62" y="105"/>
                  </a:cubicBezTo>
                  <a:cubicBezTo>
                    <a:pt x="59" y="141"/>
                    <a:pt x="59" y="177"/>
                    <a:pt x="59" y="213"/>
                  </a:cubicBezTo>
                  <a:cubicBezTo>
                    <a:pt x="59" y="216"/>
                    <a:pt x="59" y="221"/>
                    <a:pt x="59" y="223"/>
                  </a:cubicBezTo>
                  <a:cubicBezTo>
                    <a:pt x="39" y="223"/>
                    <a:pt x="21" y="223"/>
                    <a:pt x="0" y="223"/>
                  </a:cubicBezTo>
                  <a:cubicBezTo>
                    <a:pt x="0" y="154"/>
                    <a:pt x="0" y="82"/>
                    <a:pt x="0" y="11"/>
                  </a:cubicBezTo>
                  <a:cubicBezTo>
                    <a:pt x="18" y="11"/>
                    <a:pt x="33" y="11"/>
                    <a:pt x="51" y="11"/>
                  </a:cubicBezTo>
                  <a:close/>
                </a:path>
              </a:pathLst>
            </a:custGeom>
            <a:solidFill>
              <a:srgbClr val="FEFE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3" name="Freeform 56"/>
            <p:cNvSpPr>
              <a:spLocks/>
            </p:cNvSpPr>
            <p:nvPr/>
          </p:nvSpPr>
          <p:spPr bwMode="auto">
            <a:xfrm>
              <a:off x="340" y="3720"/>
              <a:ext cx="10" cy="47"/>
            </a:xfrm>
            <a:custGeom>
              <a:avLst/>
              <a:gdLst>
                <a:gd name="T0" fmla="*/ 56 w 56"/>
                <a:gd name="T1" fmla="*/ 0 h 284"/>
                <a:gd name="T2" fmla="*/ 56 w 56"/>
                <a:gd name="T3" fmla="*/ 284 h 284"/>
                <a:gd name="T4" fmla="*/ 0 w 56"/>
                <a:gd name="T5" fmla="*/ 284 h 284"/>
                <a:gd name="T6" fmla="*/ 0 w 56"/>
                <a:gd name="T7" fmla="*/ 0 h 284"/>
                <a:gd name="T8" fmla="*/ 56 w 56"/>
                <a:gd name="T9" fmla="*/ 0 h 2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6" h="284">
                  <a:moveTo>
                    <a:pt x="56" y="0"/>
                  </a:moveTo>
                  <a:cubicBezTo>
                    <a:pt x="56" y="95"/>
                    <a:pt x="56" y="189"/>
                    <a:pt x="56" y="284"/>
                  </a:cubicBezTo>
                  <a:cubicBezTo>
                    <a:pt x="39" y="284"/>
                    <a:pt x="18" y="284"/>
                    <a:pt x="0" y="284"/>
                  </a:cubicBezTo>
                  <a:cubicBezTo>
                    <a:pt x="0" y="189"/>
                    <a:pt x="0" y="95"/>
                    <a:pt x="0" y="0"/>
                  </a:cubicBezTo>
                  <a:cubicBezTo>
                    <a:pt x="18" y="0"/>
                    <a:pt x="36" y="0"/>
                    <a:pt x="56" y="0"/>
                  </a:cubicBezTo>
                  <a:close/>
                </a:path>
              </a:pathLst>
            </a:custGeom>
            <a:solidFill>
              <a:srgbClr val="FEFE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4" name="Freeform 57"/>
            <p:cNvSpPr>
              <a:spLocks/>
            </p:cNvSpPr>
            <p:nvPr/>
          </p:nvSpPr>
          <p:spPr bwMode="auto">
            <a:xfrm>
              <a:off x="508" y="3747"/>
              <a:ext cx="26" cy="21"/>
            </a:xfrm>
            <a:custGeom>
              <a:avLst/>
              <a:gdLst>
                <a:gd name="T0" fmla="*/ 159 w 159"/>
                <a:gd name="T1" fmla="*/ 33 h 125"/>
                <a:gd name="T2" fmla="*/ 151 w 159"/>
                <a:gd name="T3" fmla="*/ 46 h 125"/>
                <a:gd name="T4" fmla="*/ 48 w 159"/>
                <a:gd name="T5" fmla="*/ 118 h 125"/>
                <a:gd name="T6" fmla="*/ 46 w 159"/>
                <a:gd name="T7" fmla="*/ 120 h 125"/>
                <a:gd name="T8" fmla="*/ 7 w 159"/>
                <a:gd name="T9" fmla="*/ 100 h 125"/>
                <a:gd name="T10" fmla="*/ 15 w 159"/>
                <a:gd name="T11" fmla="*/ 59 h 125"/>
                <a:gd name="T12" fmla="*/ 123 w 159"/>
                <a:gd name="T13" fmla="*/ 10 h 125"/>
                <a:gd name="T14" fmla="*/ 159 w 159"/>
                <a:gd name="T15" fmla="*/ 33 h 1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59" h="125">
                  <a:moveTo>
                    <a:pt x="159" y="33"/>
                  </a:moveTo>
                  <a:cubicBezTo>
                    <a:pt x="156" y="38"/>
                    <a:pt x="154" y="43"/>
                    <a:pt x="151" y="46"/>
                  </a:cubicBezTo>
                  <a:cubicBezTo>
                    <a:pt x="118" y="72"/>
                    <a:pt x="84" y="95"/>
                    <a:pt x="48" y="118"/>
                  </a:cubicBezTo>
                  <a:cubicBezTo>
                    <a:pt x="46" y="120"/>
                    <a:pt x="46" y="120"/>
                    <a:pt x="46" y="120"/>
                  </a:cubicBezTo>
                  <a:cubicBezTo>
                    <a:pt x="33" y="125"/>
                    <a:pt x="18" y="118"/>
                    <a:pt x="7" y="100"/>
                  </a:cubicBezTo>
                  <a:cubicBezTo>
                    <a:pt x="0" y="82"/>
                    <a:pt x="2" y="66"/>
                    <a:pt x="15" y="59"/>
                  </a:cubicBezTo>
                  <a:cubicBezTo>
                    <a:pt x="51" y="43"/>
                    <a:pt x="87" y="25"/>
                    <a:pt x="123" y="10"/>
                  </a:cubicBezTo>
                  <a:cubicBezTo>
                    <a:pt x="141" y="0"/>
                    <a:pt x="159" y="13"/>
                    <a:pt x="159" y="33"/>
                  </a:cubicBezTo>
                  <a:close/>
                </a:path>
              </a:pathLst>
            </a:custGeom>
            <a:solidFill>
              <a:srgbClr val="FBB32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5" name="Freeform 58"/>
            <p:cNvSpPr>
              <a:spLocks/>
            </p:cNvSpPr>
            <p:nvPr/>
          </p:nvSpPr>
          <p:spPr bwMode="auto">
            <a:xfrm>
              <a:off x="555" y="3720"/>
              <a:ext cx="26" cy="20"/>
            </a:xfrm>
            <a:custGeom>
              <a:avLst/>
              <a:gdLst>
                <a:gd name="T0" fmla="*/ 156 w 156"/>
                <a:gd name="T1" fmla="*/ 41 h 121"/>
                <a:gd name="T2" fmla="*/ 143 w 156"/>
                <a:gd name="T3" fmla="*/ 64 h 121"/>
                <a:gd name="T4" fmla="*/ 36 w 156"/>
                <a:gd name="T5" fmla="*/ 116 h 121"/>
                <a:gd name="T6" fmla="*/ 5 w 156"/>
                <a:gd name="T7" fmla="*/ 105 h 121"/>
                <a:gd name="T8" fmla="*/ 13 w 156"/>
                <a:gd name="T9" fmla="*/ 75 h 121"/>
                <a:gd name="T10" fmla="*/ 108 w 156"/>
                <a:gd name="T11" fmla="*/ 8 h 121"/>
                <a:gd name="T12" fmla="*/ 141 w 156"/>
                <a:gd name="T13" fmla="*/ 10 h 121"/>
                <a:gd name="T14" fmla="*/ 156 w 156"/>
                <a:gd name="T15" fmla="*/ 41 h 1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56" h="121">
                  <a:moveTo>
                    <a:pt x="156" y="41"/>
                  </a:moveTo>
                  <a:cubicBezTo>
                    <a:pt x="156" y="54"/>
                    <a:pt x="154" y="59"/>
                    <a:pt x="143" y="64"/>
                  </a:cubicBezTo>
                  <a:cubicBezTo>
                    <a:pt x="108" y="82"/>
                    <a:pt x="72" y="98"/>
                    <a:pt x="36" y="116"/>
                  </a:cubicBezTo>
                  <a:cubicBezTo>
                    <a:pt x="23" y="121"/>
                    <a:pt x="13" y="118"/>
                    <a:pt x="5" y="105"/>
                  </a:cubicBezTo>
                  <a:cubicBezTo>
                    <a:pt x="0" y="93"/>
                    <a:pt x="0" y="82"/>
                    <a:pt x="13" y="75"/>
                  </a:cubicBezTo>
                  <a:cubicBezTo>
                    <a:pt x="43" y="51"/>
                    <a:pt x="74" y="31"/>
                    <a:pt x="108" y="8"/>
                  </a:cubicBezTo>
                  <a:cubicBezTo>
                    <a:pt x="120" y="0"/>
                    <a:pt x="131" y="0"/>
                    <a:pt x="141" y="10"/>
                  </a:cubicBezTo>
                  <a:cubicBezTo>
                    <a:pt x="151" y="18"/>
                    <a:pt x="156" y="28"/>
                    <a:pt x="156" y="41"/>
                  </a:cubicBezTo>
                  <a:close/>
                </a:path>
              </a:pathLst>
            </a:custGeom>
            <a:solidFill>
              <a:srgbClr val="FBB32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6" name="Freeform 59"/>
            <p:cNvSpPr>
              <a:spLocks/>
            </p:cNvSpPr>
            <p:nvPr/>
          </p:nvSpPr>
          <p:spPr bwMode="auto">
            <a:xfrm>
              <a:off x="539" y="3757"/>
              <a:ext cx="12" cy="28"/>
            </a:xfrm>
            <a:custGeom>
              <a:avLst/>
              <a:gdLst>
                <a:gd name="T0" fmla="*/ 0 w 70"/>
                <a:gd name="T1" fmla="*/ 136 h 169"/>
                <a:gd name="T2" fmla="*/ 11 w 70"/>
                <a:gd name="T3" fmla="*/ 18 h 169"/>
                <a:gd name="T4" fmla="*/ 34 w 70"/>
                <a:gd name="T5" fmla="*/ 0 h 169"/>
                <a:gd name="T6" fmla="*/ 57 w 70"/>
                <a:gd name="T7" fmla="*/ 18 h 169"/>
                <a:gd name="T8" fmla="*/ 67 w 70"/>
                <a:gd name="T9" fmla="*/ 123 h 169"/>
                <a:gd name="T10" fmla="*/ 67 w 70"/>
                <a:gd name="T11" fmla="*/ 133 h 169"/>
                <a:gd name="T12" fmla="*/ 52 w 70"/>
                <a:gd name="T13" fmla="*/ 164 h 169"/>
                <a:gd name="T14" fmla="*/ 3 w 70"/>
                <a:gd name="T15" fmla="*/ 154 h 169"/>
                <a:gd name="T16" fmla="*/ 0 w 70"/>
                <a:gd name="T17" fmla="*/ 136 h 169"/>
                <a:gd name="T18" fmla="*/ 0 w 70"/>
                <a:gd name="T19" fmla="*/ 136 h 1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0" h="169">
                  <a:moveTo>
                    <a:pt x="0" y="136"/>
                  </a:moveTo>
                  <a:cubicBezTo>
                    <a:pt x="6" y="97"/>
                    <a:pt x="8" y="56"/>
                    <a:pt x="11" y="18"/>
                  </a:cubicBezTo>
                  <a:cubicBezTo>
                    <a:pt x="13" y="5"/>
                    <a:pt x="21" y="0"/>
                    <a:pt x="34" y="0"/>
                  </a:cubicBezTo>
                  <a:cubicBezTo>
                    <a:pt x="49" y="0"/>
                    <a:pt x="57" y="5"/>
                    <a:pt x="57" y="18"/>
                  </a:cubicBezTo>
                  <a:cubicBezTo>
                    <a:pt x="62" y="54"/>
                    <a:pt x="65" y="87"/>
                    <a:pt x="67" y="123"/>
                  </a:cubicBezTo>
                  <a:cubicBezTo>
                    <a:pt x="67" y="125"/>
                    <a:pt x="67" y="128"/>
                    <a:pt x="67" y="133"/>
                  </a:cubicBezTo>
                  <a:cubicBezTo>
                    <a:pt x="70" y="151"/>
                    <a:pt x="65" y="159"/>
                    <a:pt x="52" y="164"/>
                  </a:cubicBezTo>
                  <a:cubicBezTo>
                    <a:pt x="34" y="169"/>
                    <a:pt x="11" y="166"/>
                    <a:pt x="3" y="154"/>
                  </a:cubicBezTo>
                  <a:cubicBezTo>
                    <a:pt x="0" y="148"/>
                    <a:pt x="0" y="143"/>
                    <a:pt x="0" y="136"/>
                  </a:cubicBezTo>
                  <a:cubicBezTo>
                    <a:pt x="0" y="136"/>
                    <a:pt x="0" y="136"/>
                    <a:pt x="0" y="136"/>
                  </a:cubicBezTo>
                  <a:close/>
                </a:path>
              </a:pathLst>
            </a:custGeom>
            <a:solidFill>
              <a:srgbClr val="FBB32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7" name="Freeform 60"/>
            <p:cNvSpPr>
              <a:spLocks/>
            </p:cNvSpPr>
            <p:nvPr/>
          </p:nvSpPr>
          <p:spPr bwMode="auto">
            <a:xfrm>
              <a:off x="555" y="3748"/>
              <a:ext cx="26" cy="20"/>
            </a:xfrm>
            <a:custGeom>
              <a:avLst/>
              <a:gdLst>
                <a:gd name="T0" fmla="*/ 156 w 156"/>
                <a:gd name="T1" fmla="*/ 82 h 121"/>
                <a:gd name="T2" fmla="*/ 138 w 156"/>
                <a:gd name="T3" fmla="*/ 113 h 121"/>
                <a:gd name="T4" fmla="*/ 108 w 156"/>
                <a:gd name="T5" fmla="*/ 113 h 121"/>
                <a:gd name="T6" fmla="*/ 13 w 156"/>
                <a:gd name="T7" fmla="*/ 47 h 121"/>
                <a:gd name="T8" fmla="*/ 8 w 156"/>
                <a:gd name="T9" fmla="*/ 16 h 121"/>
                <a:gd name="T10" fmla="*/ 36 w 156"/>
                <a:gd name="T11" fmla="*/ 6 h 121"/>
                <a:gd name="T12" fmla="*/ 143 w 156"/>
                <a:gd name="T13" fmla="*/ 57 h 121"/>
                <a:gd name="T14" fmla="*/ 156 w 156"/>
                <a:gd name="T15" fmla="*/ 82 h 1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56" h="121">
                  <a:moveTo>
                    <a:pt x="156" y="82"/>
                  </a:moveTo>
                  <a:cubicBezTo>
                    <a:pt x="156" y="93"/>
                    <a:pt x="151" y="106"/>
                    <a:pt x="138" y="113"/>
                  </a:cubicBezTo>
                  <a:cubicBezTo>
                    <a:pt x="128" y="121"/>
                    <a:pt x="120" y="121"/>
                    <a:pt x="108" y="113"/>
                  </a:cubicBezTo>
                  <a:cubicBezTo>
                    <a:pt x="77" y="93"/>
                    <a:pt x="43" y="70"/>
                    <a:pt x="13" y="47"/>
                  </a:cubicBezTo>
                  <a:cubicBezTo>
                    <a:pt x="0" y="39"/>
                    <a:pt x="0" y="29"/>
                    <a:pt x="8" y="16"/>
                  </a:cubicBezTo>
                  <a:cubicBezTo>
                    <a:pt x="13" y="3"/>
                    <a:pt x="23" y="0"/>
                    <a:pt x="36" y="6"/>
                  </a:cubicBezTo>
                  <a:cubicBezTo>
                    <a:pt x="72" y="23"/>
                    <a:pt x="108" y="39"/>
                    <a:pt x="143" y="57"/>
                  </a:cubicBezTo>
                  <a:cubicBezTo>
                    <a:pt x="154" y="62"/>
                    <a:pt x="156" y="70"/>
                    <a:pt x="156" y="82"/>
                  </a:cubicBezTo>
                  <a:close/>
                </a:path>
              </a:pathLst>
            </a:custGeom>
            <a:solidFill>
              <a:srgbClr val="FBB32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8" name="Freeform 61"/>
            <p:cNvSpPr>
              <a:spLocks/>
            </p:cNvSpPr>
            <p:nvPr/>
          </p:nvSpPr>
          <p:spPr bwMode="auto">
            <a:xfrm>
              <a:off x="539" y="3703"/>
              <a:ext cx="12" cy="27"/>
            </a:xfrm>
            <a:custGeom>
              <a:avLst/>
              <a:gdLst>
                <a:gd name="T0" fmla="*/ 34 w 70"/>
                <a:gd name="T1" fmla="*/ 0 h 166"/>
                <a:gd name="T2" fmla="*/ 57 w 70"/>
                <a:gd name="T3" fmla="*/ 5 h 166"/>
                <a:gd name="T4" fmla="*/ 70 w 70"/>
                <a:gd name="T5" fmla="*/ 25 h 166"/>
                <a:gd name="T6" fmla="*/ 57 w 70"/>
                <a:gd name="T7" fmla="*/ 148 h 166"/>
                <a:gd name="T8" fmla="*/ 34 w 70"/>
                <a:gd name="T9" fmla="*/ 166 h 166"/>
                <a:gd name="T10" fmla="*/ 11 w 70"/>
                <a:gd name="T11" fmla="*/ 146 h 166"/>
                <a:gd name="T12" fmla="*/ 0 w 70"/>
                <a:gd name="T13" fmla="*/ 36 h 166"/>
                <a:gd name="T14" fmla="*/ 34 w 70"/>
                <a:gd name="T15" fmla="*/ 0 h 1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0" h="166">
                  <a:moveTo>
                    <a:pt x="34" y="0"/>
                  </a:moveTo>
                  <a:cubicBezTo>
                    <a:pt x="41" y="0"/>
                    <a:pt x="49" y="2"/>
                    <a:pt x="57" y="5"/>
                  </a:cubicBezTo>
                  <a:cubicBezTo>
                    <a:pt x="65" y="10"/>
                    <a:pt x="70" y="18"/>
                    <a:pt x="70" y="25"/>
                  </a:cubicBezTo>
                  <a:cubicBezTo>
                    <a:pt x="65" y="66"/>
                    <a:pt x="62" y="107"/>
                    <a:pt x="57" y="148"/>
                  </a:cubicBezTo>
                  <a:cubicBezTo>
                    <a:pt x="57" y="161"/>
                    <a:pt x="49" y="166"/>
                    <a:pt x="34" y="166"/>
                  </a:cubicBezTo>
                  <a:cubicBezTo>
                    <a:pt x="18" y="166"/>
                    <a:pt x="13" y="161"/>
                    <a:pt x="11" y="146"/>
                  </a:cubicBezTo>
                  <a:cubicBezTo>
                    <a:pt x="8" y="110"/>
                    <a:pt x="6" y="71"/>
                    <a:pt x="0" y="36"/>
                  </a:cubicBezTo>
                  <a:cubicBezTo>
                    <a:pt x="0" y="10"/>
                    <a:pt x="11" y="0"/>
                    <a:pt x="34" y="0"/>
                  </a:cubicBezTo>
                  <a:close/>
                </a:path>
              </a:pathLst>
            </a:custGeom>
            <a:solidFill>
              <a:srgbClr val="FBB32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9" name="Freeform 62"/>
            <p:cNvSpPr>
              <a:spLocks/>
            </p:cNvSpPr>
            <p:nvPr/>
          </p:nvSpPr>
          <p:spPr bwMode="auto">
            <a:xfrm>
              <a:off x="508" y="3720"/>
              <a:ext cx="27" cy="20"/>
            </a:xfrm>
            <a:custGeom>
              <a:avLst/>
              <a:gdLst>
                <a:gd name="T0" fmla="*/ 159 w 159"/>
                <a:gd name="T1" fmla="*/ 90 h 123"/>
                <a:gd name="T2" fmla="*/ 121 w 159"/>
                <a:gd name="T3" fmla="*/ 113 h 123"/>
                <a:gd name="T4" fmla="*/ 18 w 159"/>
                <a:gd name="T5" fmla="*/ 67 h 123"/>
                <a:gd name="T6" fmla="*/ 3 w 159"/>
                <a:gd name="T7" fmla="*/ 36 h 123"/>
                <a:gd name="T8" fmla="*/ 21 w 159"/>
                <a:gd name="T9" fmla="*/ 8 h 123"/>
                <a:gd name="T10" fmla="*/ 49 w 159"/>
                <a:gd name="T11" fmla="*/ 8 h 123"/>
                <a:gd name="T12" fmla="*/ 146 w 159"/>
                <a:gd name="T13" fmla="*/ 75 h 123"/>
                <a:gd name="T14" fmla="*/ 159 w 159"/>
                <a:gd name="T15" fmla="*/ 90 h 1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59" h="123">
                  <a:moveTo>
                    <a:pt x="159" y="90"/>
                  </a:moveTo>
                  <a:cubicBezTo>
                    <a:pt x="157" y="110"/>
                    <a:pt x="139" y="123"/>
                    <a:pt x="121" y="113"/>
                  </a:cubicBezTo>
                  <a:cubicBezTo>
                    <a:pt x="87" y="98"/>
                    <a:pt x="52" y="82"/>
                    <a:pt x="18" y="67"/>
                  </a:cubicBezTo>
                  <a:cubicBezTo>
                    <a:pt x="3" y="59"/>
                    <a:pt x="0" y="51"/>
                    <a:pt x="3" y="36"/>
                  </a:cubicBezTo>
                  <a:cubicBezTo>
                    <a:pt x="3" y="23"/>
                    <a:pt x="11" y="16"/>
                    <a:pt x="21" y="8"/>
                  </a:cubicBezTo>
                  <a:cubicBezTo>
                    <a:pt x="31" y="0"/>
                    <a:pt x="39" y="0"/>
                    <a:pt x="49" y="8"/>
                  </a:cubicBezTo>
                  <a:cubicBezTo>
                    <a:pt x="82" y="31"/>
                    <a:pt x="113" y="51"/>
                    <a:pt x="146" y="75"/>
                  </a:cubicBezTo>
                  <a:cubicBezTo>
                    <a:pt x="152" y="77"/>
                    <a:pt x="154" y="85"/>
                    <a:pt x="159" y="90"/>
                  </a:cubicBezTo>
                  <a:close/>
                </a:path>
              </a:pathLst>
            </a:custGeom>
            <a:solidFill>
              <a:srgbClr val="FBB32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0" name="Freeform 63"/>
            <p:cNvSpPr>
              <a:spLocks/>
            </p:cNvSpPr>
            <p:nvPr/>
          </p:nvSpPr>
          <p:spPr bwMode="auto">
            <a:xfrm>
              <a:off x="312" y="3750"/>
              <a:ext cx="12" cy="13"/>
            </a:xfrm>
            <a:custGeom>
              <a:avLst/>
              <a:gdLst>
                <a:gd name="T0" fmla="*/ 74 w 77"/>
                <a:gd name="T1" fmla="*/ 0 h 74"/>
                <a:gd name="T2" fmla="*/ 74 w 77"/>
                <a:gd name="T3" fmla="*/ 33 h 74"/>
                <a:gd name="T4" fmla="*/ 20 w 77"/>
                <a:gd name="T5" fmla="*/ 61 h 74"/>
                <a:gd name="T6" fmla="*/ 15 w 77"/>
                <a:gd name="T7" fmla="*/ 18 h 74"/>
                <a:gd name="T8" fmla="*/ 41 w 77"/>
                <a:gd name="T9" fmla="*/ 2 h 74"/>
                <a:gd name="T10" fmla="*/ 74 w 77"/>
                <a:gd name="T11" fmla="*/ 0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7" h="74">
                  <a:moveTo>
                    <a:pt x="74" y="0"/>
                  </a:moveTo>
                  <a:cubicBezTo>
                    <a:pt x="74" y="13"/>
                    <a:pt x="77" y="23"/>
                    <a:pt x="74" y="33"/>
                  </a:cubicBezTo>
                  <a:cubicBezTo>
                    <a:pt x="72" y="56"/>
                    <a:pt x="41" y="74"/>
                    <a:pt x="20" y="61"/>
                  </a:cubicBezTo>
                  <a:cubicBezTo>
                    <a:pt x="5" y="54"/>
                    <a:pt x="0" y="28"/>
                    <a:pt x="15" y="18"/>
                  </a:cubicBezTo>
                  <a:cubicBezTo>
                    <a:pt x="23" y="10"/>
                    <a:pt x="33" y="5"/>
                    <a:pt x="41" y="2"/>
                  </a:cubicBezTo>
                  <a:cubicBezTo>
                    <a:pt x="51" y="0"/>
                    <a:pt x="64" y="0"/>
                    <a:pt x="74" y="0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1" name="Freeform 64"/>
            <p:cNvSpPr>
              <a:spLocks/>
            </p:cNvSpPr>
            <p:nvPr/>
          </p:nvSpPr>
          <p:spPr bwMode="auto">
            <a:xfrm>
              <a:off x="423" y="3750"/>
              <a:ext cx="12" cy="12"/>
            </a:xfrm>
            <a:custGeom>
              <a:avLst/>
              <a:gdLst>
                <a:gd name="T0" fmla="*/ 72 w 72"/>
                <a:gd name="T1" fmla="*/ 0 h 69"/>
                <a:gd name="T2" fmla="*/ 69 w 72"/>
                <a:gd name="T3" fmla="*/ 33 h 69"/>
                <a:gd name="T4" fmla="*/ 23 w 72"/>
                <a:gd name="T5" fmla="*/ 64 h 69"/>
                <a:gd name="T6" fmla="*/ 2 w 72"/>
                <a:gd name="T7" fmla="*/ 46 h 69"/>
                <a:gd name="T8" fmla="*/ 13 w 72"/>
                <a:gd name="T9" fmla="*/ 15 h 69"/>
                <a:gd name="T10" fmla="*/ 36 w 72"/>
                <a:gd name="T11" fmla="*/ 5 h 69"/>
                <a:gd name="T12" fmla="*/ 72 w 72"/>
                <a:gd name="T13" fmla="*/ 0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2" h="69">
                  <a:moveTo>
                    <a:pt x="72" y="0"/>
                  </a:moveTo>
                  <a:cubicBezTo>
                    <a:pt x="72" y="13"/>
                    <a:pt x="72" y="23"/>
                    <a:pt x="69" y="33"/>
                  </a:cubicBezTo>
                  <a:cubicBezTo>
                    <a:pt x="67" y="56"/>
                    <a:pt x="44" y="69"/>
                    <a:pt x="23" y="64"/>
                  </a:cubicBezTo>
                  <a:cubicBezTo>
                    <a:pt x="13" y="61"/>
                    <a:pt x="5" y="56"/>
                    <a:pt x="2" y="46"/>
                  </a:cubicBezTo>
                  <a:cubicBezTo>
                    <a:pt x="0" y="33"/>
                    <a:pt x="2" y="23"/>
                    <a:pt x="13" y="15"/>
                  </a:cubicBezTo>
                  <a:cubicBezTo>
                    <a:pt x="20" y="10"/>
                    <a:pt x="28" y="5"/>
                    <a:pt x="36" y="5"/>
                  </a:cubicBezTo>
                  <a:cubicBezTo>
                    <a:pt x="46" y="0"/>
                    <a:pt x="59" y="0"/>
                    <a:pt x="72" y="0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2" name="Freeform 65"/>
            <p:cNvSpPr>
              <a:spLocks noEditPoints="1"/>
            </p:cNvSpPr>
            <p:nvPr/>
          </p:nvSpPr>
          <p:spPr bwMode="auto">
            <a:xfrm>
              <a:off x="584" y="3764"/>
              <a:ext cx="6" cy="5"/>
            </a:xfrm>
            <a:custGeom>
              <a:avLst/>
              <a:gdLst>
                <a:gd name="T0" fmla="*/ 36 w 36"/>
                <a:gd name="T1" fmla="*/ 16 h 34"/>
                <a:gd name="T2" fmla="*/ 18 w 36"/>
                <a:gd name="T3" fmla="*/ 34 h 34"/>
                <a:gd name="T4" fmla="*/ 0 w 36"/>
                <a:gd name="T5" fmla="*/ 16 h 34"/>
                <a:gd name="T6" fmla="*/ 18 w 36"/>
                <a:gd name="T7" fmla="*/ 0 h 34"/>
                <a:gd name="T8" fmla="*/ 36 w 36"/>
                <a:gd name="T9" fmla="*/ 16 h 34"/>
                <a:gd name="T10" fmla="*/ 5 w 36"/>
                <a:gd name="T11" fmla="*/ 16 h 34"/>
                <a:gd name="T12" fmla="*/ 18 w 36"/>
                <a:gd name="T13" fmla="*/ 31 h 34"/>
                <a:gd name="T14" fmla="*/ 31 w 36"/>
                <a:gd name="T15" fmla="*/ 16 h 34"/>
                <a:gd name="T16" fmla="*/ 18 w 36"/>
                <a:gd name="T17" fmla="*/ 3 h 34"/>
                <a:gd name="T18" fmla="*/ 5 w 36"/>
                <a:gd name="T19" fmla="*/ 16 h 34"/>
                <a:gd name="T20" fmla="*/ 16 w 36"/>
                <a:gd name="T21" fmla="*/ 26 h 34"/>
                <a:gd name="T22" fmla="*/ 10 w 36"/>
                <a:gd name="T23" fmla="*/ 26 h 34"/>
                <a:gd name="T24" fmla="*/ 10 w 36"/>
                <a:gd name="T25" fmla="*/ 8 h 34"/>
                <a:gd name="T26" fmla="*/ 18 w 36"/>
                <a:gd name="T27" fmla="*/ 8 h 34"/>
                <a:gd name="T28" fmla="*/ 23 w 36"/>
                <a:gd name="T29" fmla="*/ 11 h 34"/>
                <a:gd name="T30" fmla="*/ 26 w 36"/>
                <a:gd name="T31" fmla="*/ 13 h 34"/>
                <a:gd name="T32" fmla="*/ 21 w 36"/>
                <a:gd name="T33" fmla="*/ 16 h 34"/>
                <a:gd name="T34" fmla="*/ 21 w 36"/>
                <a:gd name="T35" fmla="*/ 18 h 34"/>
                <a:gd name="T36" fmla="*/ 26 w 36"/>
                <a:gd name="T37" fmla="*/ 21 h 34"/>
                <a:gd name="T38" fmla="*/ 26 w 36"/>
                <a:gd name="T39" fmla="*/ 26 h 34"/>
                <a:gd name="T40" fmla="*/ 21 w 36"/>
                <a:gd name="T41" fmla="*/ 26 h 34"/>
                <a:gd name="T42" fmla="*/ 21 w 36"/>
                <a:gd name="T43" fmla="*/ 21 h 34"/>
                <a:gd name="T44" fmla="*/ 18 w 36"/>
                <a:gd name="T45" fmla="*/ 18 h 34"/>
                <a:gd name="T46" fmla="*/ 16 w 36"/>
                <a:gd name="T47" fmla="*/ 18 h 34"/>
                <a:gd name="T48" fmla="*/ 16 w 36"/>
                <a:gd name="T49" fmla="*/ 26 h 34"/>
                <a:gd name="T50" fmla="*/ 16 w 36"/>
                <a:gd name="T51" fmla="*/ 16 h 34"/>
                <a:gd name="T52" fmla="*/ 18 w 36"/>
                <a:gd name="T53" fmla="*/ 16 h 34"/>
                <a:gd name="T54" fmla="*/ 21 w 36"/>
                <a:gd name="T55" fmla="*/ 13 h 34"/>
                <a:gd name="T56" fmla="*/ 18 w 36"/>
                <a:gd name="T57" fmla="*/ 11 h 34"/>
                <a:gd name="T58" fmla="*/ 16 w 36"/>
                <a:gd name="T59" fmla="*/ 11 h 34"/>
                <a:gd name="T60" fmla="*/ 16 w 36"/>
                <a:gd name="T61" fmla="*/ 16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36" h="34">
                  <a:moveTo>
                    <a:pt x="36" y="16"/>
                  </a:moveTo>
                  <a:cubicBezTo>
                    <a:pt x="36" y="26"/>
                    <a:pt x="28" y="34"/>
                    <a:pt x="18" y="34"/>
                  </a:cubicBezTo>
                  <a:cubicBezTo>
                    <a:pt x="8" y="34"/>
                    <a:pt x="0" y="26"/>
                    <a:pt x="0" y="16"/>
                  </a:cubicBezTo>
                  <a:cubicBezTo>
                    <a:pt x="0" y="8"/>
                    <a:pt x="8" y="0"/>
                    <a:pt x="18" y="0"/>
                  </a:cubicBezTo>
                  <a:cubicBezTo>
                    <a:pt x="28" y="0"/>
                    <a:pt x="36" y="8"/>
                    <a:pt x="36" y="16"/>
                  </a:cubicBezTo>
                  <a:close/>
                  <a:moveTo>
                    <a:pt x="5" y="16"/>
                  </a:moveTo>
                  <a:cubicBezTo>
                    <a:pt x="5" y="23"/>
                    <a:pt x="10" y="31"/>
                    <a:pt x="18" y="31"/>
                  </a:cubicBezTo>
                  <a:cubicBezTo>
                    <a:pt x="26" y="31"/>
                    <a:pt x="31" y="23"/>
                    <a:pt x="31" y="16"/>
                  </a:cubicBezTo>
                  <a:cubicBezTo>
                    <a:pt x="31" y="11"/>
                    <a:pt x="26" y="3"/>
                    <a:pt x="18" y="3"/>
                  </a:cubicBezTo>
                  <a:cubicBezTo>
                    <a:pt x="10" y="3"/>
                    <a:pt x="5" y="11"/>
                    <a:pt x="5" y="16"/>
                  </a:cubicBezTo>
                  <a:close/>
                  <a:moveTo>
                    <a:pt x="16" y="26"/>
                  </a:moveTo>
                  <a:cubicBezTo>
                    <a:pt x="10" y="26"/>
                    <a:pt x="10" y="26"/>
                    <a:pt x="10" y="26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3" y="8"/>
                    <a:pt x="16" y="8"/>
                    <a:pt x="18" y="8"/>
                  </a:cubicBezTo>
                  <a:cubicBezTo>
                    <a:pt x="21" y="8"/>
                    <a:pt x="23" y="8"/>
                    <a:pt x="23" y="11"/>
                  </a:cubicBezTo>
                  <a:cubicBezTo>
                    <a:pt x="23" y="11"/>
                    <a:pt x="26" y="11"/>
                    <a:pt x="26" y="13"/>
                  </a:cubicBezTo>
                  <a:cubicBezTo>
                    <a:pt x="26" y="16"/>
                    <a:pt x="23" y="16"/>
                    <a:pt x="21" y="16"/>
                  </a:cubicBezTo>
                  <a:cubicBezTo>
                    <a:pt x="21" y="18"/>
                    <a:pt x="21" y="18"/>
                    <a:pt x="21" y="18"/>
                  </a:cubicBezTo>
                  <a:cubicBezTo>
                    <a:pt x="23" y="18"/>
                    <a:pt x="23" y="18"/>
                    <a:pt x="26" y="21"/>
                  </a:cubicBezTo>
                  <a:cubicBezTo>
                    <a:pt x="26" y="23"/>
                    <a:pt x="26" y="23"/>
                    <a:pt x="26" y="26"/>
                  </a:cubicBezTo>
                  <a:cubicBezTo>
                    <a:pt x="21" y="26"/>
                    <a:pt x="21" y="26"/>
                    <a:pt x="21" y="26"/>
                  </a:cubicBezTo>
                  <a:cubicBezTo>
                    <a:pt x="21" y="23"/>
                    <a:pt x="21" y="23"/>
                    <a:pt x="21" y="21"/>
                  </a:cubicBezTo>
                  <a:cubicBezTo>
                    <a:pt x="21" y="18"/>
                    <a:pt x="18" y="18"/>
                    <a:pt x="18" y="18"/>
                  </a:cubicBezTo>
                  <a:cubicBezTo>
                    <a:pt x="16" y="18"/>
                    <a:pt x="16" y="18"/>
                    <a:pt x="16" y="18"/>
                  </a:cubicBezTo>
                  <a:lnTo>
                    <a:pt x="16" y="26"/>
                  </a:lnTo>
                  <a:close/>
                  <a:moveTo>
                    <a:pt x="16" y="16"/>
                  </a:moveTo>
                  <a:cubicBezTo>
                    <a:pt x="18" y="16"/>
                    <a:pt x="18" y="16"/>
                    <a:pt x="18" y="16"/>
                  </a:cubicBezTo>
                  <a:cubicBezTo>
                    <a:pt x="18" y="16"/>
                    <a:pt x="21" y="16"/>
                    <a:pt x="21" y="13"/>
                  </a:cubicBezTo>
                  <a:cubicBezTo>
                    <a:pt x="21" y="13"/>
                    <a:pt x="21" y="11"/>
                    <a:pt x="18" y="11"/>
                  </a:cubicBezTo>
                  <a:cubicBezTo>
                    <a:pt x="16" y="11"/>
                    <a:pt x="16" y="11"/>
                    <a:pt x="16" y="11"/>
                  </a:cubicBezTo>
                  <a:lnTo>
                    <a:pt x="16" y="16"/>
                  </a:lnTo>
                  <a:close/>
                </a:path>
              </a:pathLst>
            </a:custGeom>
            <a:solidFill>
              <a:srgbClr val="FBB32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8" name="Text Placeholder 7"/>
          <p:cNvSpPr>
            <a:spLocks noGrp="1"/>
          </p:cNvSpPr>
          <p:nvPr>
            <p:ph type="body" idx="1"/>
          </p:nvPr>
        </p:nvSpPr>
        <p:spPr>
          <a:xfrm>
            <a:off x="432030" y="843197"/>
            <a:ext cx="7096688" cy="4019086"/>
          </a:xfrm>
          <a:prstGeom prst="rect">
            <a:avLst/>
          </a:prstGeom>
        </p:spPr>
        <p:txBody>
          <a:bodyPr vert="horz" lIns="68580" tIns="34290" rIns="68580" bIns="3429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541273" y="4869657"/>
            <a:ext cx="989786" cy="273844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7C1CE45-12BE-44EB-87B1-C80F14748F59}" type="datetimeFigureOut">
              <a:rPr lang="en-US" smtClean="0"/>
              <a:t>9/6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30492" y="4869656"/>
            <a:ext cx="5950052" cy="273844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7244388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0" r:id="rId20"/>
    <p:sldLayoutId id="2147483681" r:id="rId21"/>
    <p:sldLayoutId id="2147483682" r:id="rId22"/>
    <p:sldLayoutId id="2147483683" r:id="rId23"/>
    <p:sldLayoutId id="2147483684" r:id="rId24"/>
    <p:sldLayoutId id="2147483685" r:id="rId25"/>
    <p:sldLayoutId id="2147483686" r:id="rId26"/>
    <p:sldLayoutId id="2147483687" r:id="rId27"/>
    <p:sldLayoutId id="2147483688" r:id="rId28"/>
    <p:sldLayoutId id="2147483689" r:id="rId29"/>
  </p:sldLayoutIdLst>
  <p:timing>
    <p:tnLst>
      <p:par>
        <p:cTn id="1" dur="indefinite" restart="never" nodeType="tmRoot"/>
      </p:par>
    </p:tnLst>
  </p:timing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chemeClr val="tx1"/>
          </a:solidFill>
          <a:latin typeface="Myriad Pro" panose="020B0503030403020204" pitchFamily="34" charset="0"/>
          <a:ea typeface="+mj-ea"/>
          <a:cs typeface="+mj-cs"/>
        </a:defRPr>
      </a:lvl1pPr>
    </p:titleStyle>
    <p:bodyStyle>
      <a:lvl1pPr marL="0" indent="0" algn="l" defTabSz="6858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Font typeface="Arial" panose="020B0604020202020204" pitchFamily="34" charset="0"/>
        <a:buNone/>
        <a:defRPr sz="1500" kern="1200">
          <a:solidFill>
            <a:schemeClr val="tx1"/>
          </a:solidFill>
          <a:latin typeface="Myriad Pro" panose="020B0503030403020204" pitchFamily="34" charset="0"/>
          <a:ea typeface="+mn-ea"/>
          <a:cs typeface="+mn-cs"/>
        </a:defRPr>
      </a:lvl1pPr>
      <a:lvl2pPr marL="257175" indent="-169069" algn="l" defTabSz="685800" rtl="0" eaLnBrk="1" latinLnBrk="0" hangingPunct="1">
        <a:lnSpc>
          <a:spcPct val="100000"/>
        </a:lnSpc>
        <a:spcBef>
          <a:spcPts val="225"/>
        </a:spcBef>
        <a:spcAft>
          <a:spcPts val="225"/>
        </a:spcAft>
        <a:buFont typeface="Arial" panose="020B0604020202020204" pitchFamily="34" charset="0"/>
        <a:buChar char="•"/>
        <a:defRPr sz="1400" b="0" u="none" kern="1200">
          <a:solidFill>
            <a:schemeClr val="tx1"/>
          </a:solidFill>
          <a:latin typeface="Myriad Pro" panose="020B0503030403020204" pitchFamily="34" charset="0"/>
          <a:ea typeface="+mn-ea"/>
          <a:cs typeface="+mn-cs"/>
        </a:defRPr>
      </a:lvl2pPr>
      <a:lvl3pPr marL="519113" indent="-176213" algn="l" defTabSz="685800" rtl="0" eaLnBrk="1" latinLnBrk="0" hangingPunct="1">
        <a:lnSpc>
          <a:spcPct val="100000"/>
        </a:lnSpc>
        <a:spcBef>
          <a:spcPts val="150"/>
        </a:spcBef>
        <a:spcAft>
          <a:spcPts val="150"/>
        </a:spcAft>
        <a:buFont typeface="Arial" panose="020B0604020202020204" pitchFamily="34" charset="0"/>
        <a:buChar char="•"/>
        <a:defRPr sz="1100" kern="1200">
          <a:solidFill>
            <a:schemeClr val="tx1"/>
          </a:solidFill>
          <a:latin typeface="Myriad Pro" panose="020B0503030403020204" pitchFamily="34" charset="0"/>
          <a:ea typeface="+mn-ea"/>
          <a:cs typeface="+mn-cs"/>
        </a:defRPr>
      </a:lvl3pPr>
      <a:lvl4pPr marL="773906" indent="-176213" algn="l" defTabSz="685800" rtl="0" eaLnBrk="1" latinLnBrk="0" hangingPunct="1">
        <a:lnSpc>
          <a:spcPct val="100000"/>
        </a:lnSpc>
        <a:spcBef>
          <a:spcPts val="150"/>
        </a:spcBef>
        <a:spcAft>
          <a:spcPts val="150"/>
        </a:spcAft>
        <a:buFont typeface="Arial" panose="020B0604020202020204" pitchFamily="34" charset="0"/>
        <a:buChar char="•"/>
        <a:defRPr sz="900" b="0" kern="1200">
          <a:solidFill>
            <a:schemeClr val="tx1"/>
          </a:solidFill>
          <a:latin typeface="Myriad Pro" panose="020B0503030403020204" pitchFamily="34" charset="0"/>
          <a:ea typeface="+mn-ea"/>
          <a:cs typeface="+mn-cs"/>
        </a:defRPr>
      </a:lvl4pPr>
      <a:lvl5pPr marL="1028700" indent="-166688" algn="l" defTabSz="685800" rtl="0" eaLnBrk="1" latinLnBrk="0" hangingPunct="1">
        <a:lnSpc>
          <a:spcPct val="100000"/>
        </a:lnSpc>
        <a:spcBef>
          <a:spcPts val="150"/>
        </a:spcBef>
        <a:spcAft>
          <a:spcPts val="150"/>
        </a:spcAft>
        <a:buFont typeface="Arial" panose="020B0604020202020204" pitchFamily="34" charset="0"/>
        <a:buChar char="•"/>
        <a:defRPr sz="900" i="1" kern="1200">
          <a:solidFill>
            <a:schemeClr val="tx1"/>
          </a:solidFill>
          <a:latin typeface="Myriad Pro" panose="020B0503030403020204" pitchFamily="34" charset="0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7" Type="http://schemas.openxmlformats.org/officeDocument/2006/relationships/image" Target="../media/image5.png"/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2.xml"/><Relationship Id="rId6" Type="http://schemas.openxmlformats.org/officeDocument/2006/relationships/hyperlink" Target="https://walmartfilms.wistia.com/medias/5ln2qvmxl6" TargetMode="External"/><Relationship Id="rId5" Type="http://schemas.openxmlformats.org/officeDocument/2006/relationships/image" Target="../media/image4.jpeg"/><Relationship Id="rId4" Type="http://schemas.microsoft.com/office/2007/relationships/hdphoto" Target="../media/hdphoto1.wdp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emf"/><Relationship Id="rId7" Type="http://schemas.openxmlformats.org/officeDocument/2006/relationships/image" Target="../media/image11.emf"/><Relationship Id="rId2" Type="http://schemas.openxmlformats.org/officeDocument/2006/relationships/image" Target="../media/image6.emf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10.emf"/><Relationship Id="rId5" Type="http://schemas.openxmlformats.org/officeDocument/2006/relationships/image" Target="../media/image9.emf"/><Relationship Id="rId4" Type="http://schemas.openxmlformats.org/officeDocument/2006/relationships/image" Target="../media/image8.emf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7" Type="http://schemas.openxmlformats.org/officeDocument/2006/relationships/image" Target="../media/image12.emf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1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18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0492" y="1657350"/>
            <a:ext cx="4448445" cy="1627721"/>
          </a:xfrm>
        </p:spPr>
        <p:txBody>
          <a:bodyPr/>
          <a:lstStyle/>
          <a:p>
            <a:r>
              <a:rPr lang="en-US" dirty="0" smtClean="0">
                <a:solidFill>
                  <a:srgbClr val="FFC22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 Policy Roadmap to Renew U.S. Manufacturing</a:t>
            </a:r>
            <a:endParaRPr lang="en-US" dirty="0">
              <a:solidFill>
                <a:srgbClr val="FFC22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mtClean="0">
                <a:solidFill>
                  <a:srgbClr val="FFC22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ptember 8</a:t>
            </a:r>
            <a:r>
              <a:rPr lang="en-US" smtClean="0">
                <a:solidFill>
                  <a:srgbClr val="FFC22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dirty="0" smtClean="0">
                <a:solidFill>
                  <a:srgbClr val="FFC22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17</a:t>
            </a:r>
          </a:p>
          <a:p>
            <a:r>
              <a:rPr lang="en-US" dirty="0" smtClean="0">
                <a:solidFill>
                  <a:srgbClr val="FFC22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ashington, D.C. </a:t>
            </a:r>
          </a:p>
          <a:p>
            <a:endParaRPr lang="en-US" dirty="0">
              <a:solidFill>
                <a:srgbClr val="FFC22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741058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/>
        </p:nvSpPr>
        <p:spPr>
          <a:xfrm>
            <a:off x="3630" y="-9797"/>
            <a:ext cx="9132319" cy="5169942"/>
          </a:xfrm>
          <a:prstGeom prst="rect">
            <a:avLst/>
          </a:prstGeom>
          <a:solidFill>
            <a:srgbClr val="0071CE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68579" tIns="34289" rIns="68579" bIns="34289" rtlCol="0" anchor="ctr"/>
          <a:lstStyle/>
          <a:p>
            <a:pPr algn="ctr" defTabSz="685783"/>
            <a:endParaRPr lang="en-US" sz="1400">
              <a:solidFill>
                <a:srgbClr val="FEFFFF"/>
              </a:solidFill>
            </a:endParaRPr>
          </a:p>
        </p:txBody>
      </p:sp>
      <p:pic>
        <p:nvPicPr>
          <p:cNvPr id="13" name="Picture 12" descr="walmart-white-truck.jpg"/>
          <p:cNvPicPr>
            <a:picLocks noChangeAspect="1"/>
          </p:cNvPicPr>
          <p:nvPr/>
        </p:nvPicPr>
        <p:blipFill rotWithShape="1">
          <a:blip r:embed="rId2" cstate="email">
            <a:alphaModFix amt="3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104405" y="73892"/>
            <a:ext cx="3017520" cy="4480560"/>
          </a:xfrm>
          <a:prstGeom prst="rect">
            <a:avLst/>
          </a:prstGeom>
        </p:spPr>
      </p:pic>
      <p:pic>
        <p:nvPicPr>
          <p:cNvPr id="4" name="Picture 3" descr="Family shopping.jpg"/>
          <p:cNvPicPr>
            <a:picLocks noChangeAspect="1"/>
          </p:cNvPicPr>
          <p:nvPr/>
        </p:nvPicPr>
        <p:blipFill rotWithShape="1">
          <a:blip r:embed="rId3" cstate="email">
            <a:alphaModFix amt="30000"/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2807" y="73892"/>
            <a:ext cx="2926080" cy="4480560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/>
        </p:nvPicPr>
        <p:blipFill rotWithShape="1">
          <a:blip r:embed="rId5" cstate="email">
            <a:alphaModFix amt="3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207443" y="61599"/>
            <a:ext cx="2834640" cy="4480560"/>
          </a:xfrm>
          <a:prstGeom prst="rect">
            <a:avLst/>
          </a:prstGeom>
        </p:spPr>
      </p:pic>
      <p:sp>
        <p:nvSpPr>
          <p:cNvPr id="31" name="TextBox 30"/>
          <p:cNvSpPr txBox="1"/>
          <p:nvPr/>
        </p:nvSpPr>
        <p:spPr>
          <a:xfrm>
            <a:off x="1" y="2967145"/>
            <a:ext cx="3063305" cy="716669"/>
          </a:xfrm>
          <a:prstGeom prst="rect">
            <a:avLst/>
          </a:prstGeom>
          <a:noFill/>
          <a:effectLst>
            <a:outerShdw blurRad="50800" dist="38100" dir="2700000" algn="tl" rotWithShape="0">
              <a:srgbClr val="000000">
                <a:alpha val="40000"/>
              </a:srgbClr>
            </a:outerShdw>
          </a:effectLst>
        </p:spPr>
        <p:txBody>
          <a:bodyPr wrap="square" lIns="68579" tIns="34289" rIns="68579" bIns="34289" rtlCol="0">
            <a:spAutoFit/>
          </a:bodyPr>
          <a:lstStyle/>
          <a:p>
            <a:pPr algn="ctr" defTabSz="685783">
              <a:lnSpc>
                <a:spcPct val="150000"/>
              </a:lnSpc>
            </a:pPr>
            <a:r>
              <a:rPr lang="en-US" sz="3200" b="1" dirty="0">
                <a:solidFill>
                  <a:srgbClr val="FFC220"/>
                </a:solidFill>
                <a:latin typeface="Arial" charset="0"/>
                <a:ea typeface="Arial" charset="0"/>
                <a:cs typeface="Arial" charset="0"/>
              </a:rPr>
              <a:t>Customers.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285582" y="4602963"/>
            <a:ext cx="7953109" cy="484746"/>
          </a:xfrm>
          <a:prstGeom prst="rect">
            <a:avLst/>
          </a:prstGeom>
          <a:noFill/>
        </p:spPr>
        <p:txBody>
          <a:bodyPr wrap="square" lIns="68579" tIns="34289" rIns="68579" bIns="34289" rtlCol="0">
            <a:spAutoFit/>
          </a:bodyPr>
          <a:lstStyle/>
          <a:p>
            <a:pPr defTabSz="685783">
              <a:lnSpc>
                <a:spcPct val="150000"/>
              </a:lnSpc>
            </a:pPr>
            <a:r>
              <a:rPr lang="en-US" b="1" dirty="0">
                <a:solidFill>
                  <a:srgbClr val="FEFFFF"/>
                </a:solidFill>
                <a:latin typeface="Myriad Pro" charset="0"/>
                <a:ea typeface="Myriad Pro" charset="0"/>
                <a:cs typeface="Myriad Pro" charset="0"/>
              </a:rPr>
              <a:t>#</a:t>
            </a:r>
            <a:r>
              <a:rPr lang="en-US" b="1" dirty="0" err="1">
                <a:solidFill>
                  <a:srgbClr val="FEFFFF"/>
                </a:solidFill>
                <a:latin typeface="Myriad Pro" charset="0"/>
                <a:ea typeface="Myriad Pro" charset="0"/>
                <a:cs typeface="Myriad Pro" charset="0"/>
              </a:rPr>
              <a:t>MadeInUSA</a:t>
            </a:r>
            <a:endParaRPr lang="en-US" b="1" dirty="0">
              <a:solidFill>
                <a:srgbClr val="FEFFFF"/>
              </a:solidFill>
              <a:latin typeface="Myriad Pro" charset="0"/>
              <a:ea typeface="Myriad Pro" charset="0"/>
              <a:cs typeface="Myriad Pro" charset="0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3063305" y="2972877"/>
            <a:ext cx="3042221" cy="716669"/>
          </a:xfrm>
          <a:prstGeom prst="rect">
            <a:avLst/>
          </a:prstGeom>
          <a:noFill/>
          <a:effectLst>
            <a:outerShdw blurRad="50800" dist="38100" dir="2700000" algn="tl" rotWithShape="0">
              <a:srgbClr val="000000">
                <a:alpha val="40000"/>
              </a:srgbClr>
            </a:outerShdw>
          </a:effectLst>
        </p:spPr>
        <p:txBody>
          <a:bodyPr wrap="square" lIns="68579" tIns="34289" rIns="68579" bIns="34289" rtlCol="0">
            <a:spAutoFit/>
          </a:bodyPr>
          <a:lstStyle/>
          <a:p>
            <a:pPr algn="ctr" defTabSz="685783">
              <a:lnSpc>
                <a:spcPct val="150000"/>
              </a:lnSpc>
            </a:pPr>
            <a:r>
              <a:rPr lang="en-US" sz="3200" b="1" dirty="0">
                <a:solidFill>
                  <a:srgbClr val="FFC220"/>
                </a:solidFill>
                <a:latin typeface="Arial" charset="0"/>
                <a:ea typeface="Arial" charset="0"/>
                <a:cs typeface="Arial" charset="0"/>
              </a:rPr>
              <a:t>Business.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6105526" y="2972877"/>
            <a:ext cx="3038475" cy="716669"/>
          </a:xfrm>
          <a:prstGeom prst="rect">
            <a:avLst/>
          </a:prstGeom>
          <a:noFill/>
          <a:effectLst>
            <a:outerShdw blurRad="50800" dist="38100" dir="2700000" algn="tl" rotWithShape="0">
              <a:srgbClr val="000000">
                <a:alpha val="40000"/>
              </a:srgbClr>
            </a:outerShdw>
          </a:effectLst>
        </p:spPr>
        <p:txBody>
          <a:bodyPr wrap="square" lIns="68579" tIns="34289" rIns="68579" bIns="34289" rtlCol="0">
            <a:spAutoFit/>
          </a:bodyPr>
          <a:lstStyle/>
          <a:p>
            <a:pPr algn="ctr" defTabSz="685783">
              <a:lnSpc>
                <a:spcPct val="150000"/>
              </a:lnSpc>
            </a:pPr>
            <a:r>
              <a:rPr lang="en-US" sz="3200" b="1" dirty="0">
                <a:solidFill>
                  <a:srgbClr val="FFC220"/>
                </a:solidFill>
                <a:latin typeface="Arial" charset="0"/>
                <a:ea typeface="Arial" charset="0"/>
                <a:cs typeface="Arial" charset="0"/>
              </a:rPr>
              <a:t>Community.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-150021" y="1537796"/>
            <a:ext cx="9144000" cy="1799498"/>
          </a:xfrm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  <p:txBody>
          <a:bodyPr>
            <a:noAutofit/>
          </a:bodyPr>
          <a:lstStyle/>
          <a:p>
            <a:pPr algn="ctr"/>
            <a:r>
              <a:rPr lang="en-US" sz="11300" dirty="0">
                <a:solidFill>
                  <a:srgbClr val="FEFFFF"/>
                </a:solidFill>
                <a:latin typeface="Myriad Pro" charset="0"/>
                <a:ea typeface="Myriad Pro" charset="0"/>
                <a:cs typeface="Myriad Pro" charset="0"/>
              </a:rPr>
              <a:t>$250B</a:t>
            </a:r>
          </a:p>
        </p:txBody>
      </p:sp>
      <p:pic>
        <p:nvPicPr>
          <p:cNvPr id="14" name="Picture 147" descr="963px-Walmart_Spark">
            <a:hlinkClick r:id="rId6"/>
          </p:cNvPr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82380" y="4555595"/>
            <a:ext cx="609880" cy="58790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in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967272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243070" y="361950"/>
            <a:ext cx="9525000" cy="815192"/>
          </a:xfrm>
        </p:spPr>
        <p:txBody>
          <a:bodyPr>
            <a:noAutofit/>
          </a:bodyPr>
          <a:lstStyle/>
          <a:p>
            <a:r>
              <a:rPr lang="en-US" dirty="0" smtClean="0">
                <a:solidFill>
                  <a:srgbClr val="0071C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rends Driving Growth</a:t>
            </a:r>
            <a:br>
              <a:rPr lang="en-US" dirty="0" smtClean="0">
                <a:solidFill>
                  <a:srgbClr val="0071CE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dirty="0" smtClean="0">
                <a:solidFill>
                  <a:srgbClr val="0071C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f U.S. Manufacturing</a:t>
            </a:r>
            <a:endParaRPr lang="en-US" dirty="0">
              <a:solidFill>
                <a:srgbClr val="0071C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6" name="clipart_icons_energyefficiency"/>
          <p:cNvPicPr>
            <a:picLocks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61791" y="2480997"/>
            <a:ext cx="430054" cy="4300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8" name="clipart_icons_leadership"/>
          <p:cNvPicPr>
            <a:picLocks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832970" y="3350934"/>
            <a:ext cx="430054" cy="4300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9" name="clipart_icons_chain"/>
          <p:cNvPicPr>
            <a:picLocks noChangeAspect="1" noChangeArrowheads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805224" y="2495066"/>
            <a:ext cx="451556" cy="431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10" name="clipart_icons_@"/>
          <p:cNvPicPr>
            <a:picLocks noChangeAspect="1" noChangeArrowheads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673402" y="2490819"/>
            <a:ext cx="431172" cy="430552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</p:spPr>
      </p:pic>
      <p:pic>
        <p:nvPicPr>
          <p:cNvPr id="18" name="clipart_icons_compass_economic"/>
          <p:cNvPicPr>
            <a:picLocks noChangeAspect="1" noChangeArrowheads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615470" y="3272308"/>
            <a:ext cx="554988" cy="60974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22" name="clipart_icons_analysis"/>
          <p:cNvPicPr>
            <a:picLocks noChangeAspect="1" noChangeArrowheads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65458" y="3369624"/>
            <a:ext cx="430054" cy="415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grpSp>
        <p:nvGrpSpPr>
          <p:cNvPr id="19" name="Group 18"/>
          <p:cNvGrpSpPr/>
          <p:nvPr/>
        </p:nvGrpSpPr>
        <p:grpSpPr>
          <a:xfrm>
            <a:off x="294063" y="1555184"/>
            <a:ext cx="2109840" cy="515680"/>
            <a:chOff x="294063" y="1555184"/>
            <a:chExt cx="2109840" cy="515680"/>
          </a:xfrm>
        </p:grpSpPr>
        <p:sp>
          <p:nvSpPr>
            <p:cNvPr id="16" name="Rounded Rectangle 15"/>
            <p:cNvSpPr/>
            <p:nvPr/>
          </p:nvSpPr>
          <p:spPr>
            <a:xfrm>
              <a:off x="294063" y="1555184"/>
              <a:ext cx="2109840" cy="515680"/>
            </a:xfrm>
            <a:prstGeom prst="roundRect">
              <a:avLst/>
            </a:prstGeom>
            <a:solidFill>
              <a:srgbClr val="007DC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rgbClr val="004C91"/>
                </a:solidFill>
              </a:endParaRPr>
            </a:p>
          </p:txBody>
        </p:sp>
        <p:sp>
          <p:nvSpPr>
            <p:cNvPr id="2" name="Rectangle 1"/>
            <p:cNvSpPr/>
            <p:nvPr/>
          </p:nvSpPr>
          <p:spPr>
            <a:xfrm>
              <a:off x="294064" y="1582191"/>
              <a:ext cx="2109838" cy="46166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 defTabSz="685800">
                <a:defRPr/>
              </a:pPr>
              <a:r>
                <a:rPr lang="en-US" sz="1200" b="1" spc="100" dirty="0" smtClean="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rPr>
                <a:t>U.S. INCREASINGLY COST COMPETITIVE</a:t>
              </a:r>
              <a:endParaRPr lang="en-US" sz="1200" b="1" spc="100" dirty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</p:grpSp>
      <p:sp>
        <p:nvSpPr>
          <p:cNvPr id="7" name="Rectangle 6"/>
          <p:cNvSpPr/>
          <p:nvPr/>
        </p:nvSpPr>
        <p:spPr>
          <a:xfrm>
            <a:off x="933412" y="2465083"/>
            <a:ext cx="1373515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685800">
              <a:defRPr/>
            </a:pPr>
            <a:r>
              <a:rPr lang="en-US" sz="1200" dirty="0">
                <a:solidFill>
                  <a:srgbClr val="000000"/>
                </a:solidFill>
                <a:latin typeface="Arial" charset="0"/>
                <a:ea typeface="Arial" charset="0"/>
                <a:cs typeface="Arial" charset="0"/>
              </a:rPr>
              <a:t>Leading energy input costs</a:t>
            </a:r>
          </a:p>
        </p:txBody>
      </p:sp>
      <p:sp>
        <p:nvSpPr>
          <p:cNvPr id="11" name="Rectangle 10"/>
          <p:cNvSpPr/>
          <p:nvPr/>
        </p:nvSpPr>
        <p:spPr>
          <a:xfrm>
            <a:off x="909842" y="3316570"/>
            <a:ext cx="1484212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685800">
              <a:defRPr/>
            </a:pPr>
            <a:r>
              <a:rPr lang="en-US" sz="1200" dirty="0">
                <a:solidFill>
                  <a:srgbClr val="000000"/>
                </a:solidFill>
                <a:latin typeface="Arial" charset="0"/>
                <a:ea typeface="Arial" charset="0"/>
                <a:cs typeface="Arial" charset="0"/>
              </a:rPr>
              <a:t>Convergence of productivity-adjusted costs</a:t>
            </a:r>
          </a:p>
        </p:txBody>
      </p:sp>
      <p:sp>
        <p:nvSpPr>
          <p:cNvPr id="12" name="Rectangle 11"/>
          <p:cNvSpPr/>
          <p:nvPr/>
        </p:nvSpPr>
        <p:spPr>
          <a:xfrm>
            <a:off x="3382038" y="2465067"/>
            <a:ext cx="1812098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685800">
              <a:defRPr/>
            </a:pPr>
            <a:r>
              <a:rPr lang="en-US" sz="1200" dirty="0">
                <a:solidFill>
                  <a:srgbClr val="000000"/>
                </a:solidFill>
                <a:latin typeface="Arial" charset="0"/>
                <a:ea typeface="Arial" charset="0"/>
                <a:cs typeface="Arial" charset="0"/>
              </a:rPr>
              <a:t>Focus on supply chain cost / risk reduction</a:t>
            </a:r>
          </a:p>
        </p:txBody>
      </p:sp>
      <p:sp>
        <p:nvSpPr>
          <p:cNvPr id="13" name="Rectangle 12"/>
          <p:cNvSpPr/>
          <p:nvPr/>
        </p:nvSpPr>
        <p:spPr>
          <a:xfrm>
            <a:off x="3347594" y="3316569"/>
            <a:ext cx="1905001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685800">
              <a:defRPr/>
            </a:pPr>
            <a:r>
              <a:rPr lang="en-US" sz="1200" dirty="0">
                <a:solidFill>
                  <a:srgbClr val="000000"/>
                </a:solidFill>
                <a:latin typeface="Arial" charset="0"/>
                <a:ea typeface="Arial" charset="0"/>
                <a:cs typeface="Arial" charset="0"/>
              </a:rPr>
              <a:t>Expectations of greater responsiveness to customers/consumers</a:t>
            </a:r>
          </a:p>
        </p:txBody>
      </p:sp>
      <p:sp>
        <p:nvSpPr>
          <p:cNvPr id="14" name="Rectangle 13"/>
          <p:cNvSpPr/>
          <p:nvPr/>
        </p:nvSpPr>
        <p:spPr>
          <a:xfrm>
            <a:off x="6343874" y="3301541"/>
            <a:ext cx="2048401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685800">
              <a:defRPr/>
            </a:pPr>
            <a:r>
              <a:rPr lang="en-US" sz="1200" dirty="0">
                <a:solidFill>
                  <a:srgbClr val="000000"/>
                </a:solidFill>
                <a:latin typeface="Arial" charset="0"/>
                <a:ea typeface="Arial" charset="0"/>
                <a:cs typeface="Arial" charset="0"/>
              </a:rPr>
              <a:t>Emergence of multi-region supply strategies</a:t>
            </a:r>
          </a:p>
        </p:txBody>
      </p:sp>
      <p:sp>
        <p:nvSpPr>
          <p:cNvPr id="15" name="Rectangle 14"/>
          <p:cNvSpPr/>
          <p:nvPr/>
        </p:nvSpPr>
        <p:spPr>
          <a:xfrm>
            <a:off x="6343874" y="2372733"/>
            <a:ext cx="1927946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685800">
              <a:defRPr/>
            </a:pPr>
            <a:r>
              <a:rPr lang="en-US" sz="1200" dirty="0">
                <a:solidFill>
                  <a:srgbClr val="000000"/>
                </a:solidFill>
                <a:latin typeface="Arial" charset="0"/>
                <a:ea typeface="Arial" charset="0"/>
                <a:cs typeface="Arial" charset="0"/>
              </a:rPr>
              <a:t>Rise of </a:t>
            </a:r>
            <a:r>
              <a:rPr lang="en-US" sz="1200" dirty="0" smtClean="0">
                <a:solidFill>
                  <a:srgbClr val="000000"/>
                </a:solidFill>
                <a:latin typeface="Arial" charset="0"/>
                <a:ea typeface="Arial" charset="0"/>
                <a:cs typeface="Arial" charset="0"/>
              </a:rPr>
              <a:t>digital manufacturing </a:t>
            </a:r>
            <a:r>
              <a:rPr lang="en-US" sz="1200" dirty="0">
                <a:solidFill>
                  <a:srgbClr val="000000"/>
                </a:solidFill>
                <a:latin typeface="Arial" charset="0"/>
                <a:ea typeface="Arial" charset="0"/>
                <a:cs typeface="Arial" charset="0"/>
              </a:rPr>
              <a:t>technologies</a:t>
            </a:r>
          </a:p>
        </p:txBody>
      </p:sp>
      <p:grpSp>
        <p:nvGrpSpPr>
          <p:cNvPr id="24" name="Group 23"/>
          <p:cNvGrpSpPr/>
          <p:nvPr/>
        </p:nvGrpSpPr>
        <p:grpSpPr>
          <a:xfrm>
            <a:off x="2684927" y="1485437"/>
            <a:ext cx="2643240" cy="646333"/>
            <a:chOff x="2684927" y="1485437"/>
            <a:chExt cx="2643240" cy="646333"/>
          </a:xfrm>
        </p:grpSpPr>
        <p:sp>
          <p:nvSpPr>
            <p:cNvPr id="20" name="Rounded Rectangle 19"/>
            <p:cNvSpPr/>
            <p:nvPr/>
          </p:nvSpPr>
          <p:spPr>
            <a:xfrm>
              <a:off x="2804596" y="1485438"/>
              <a:ext cx="2403902" cy="646332"/>
            </a:xfrm>
            <a:prstGeom prst="roundRect">
              <a:avLst/>
            </a:prstGeom>
            <a:solidFill>
              <a:srgbClr val="007DC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rgbClr val="004C91"/>
                </a:solidFill>
              </a:endParaRPr>
            </a:p>
          </p:txBody>
        </p:sp>
        <p:sp>
          <p:nvSpPr>
            <p:cNvPr id="4" name="Rectangle 3"/>
            <p:cNvSpPr/>
            <p:nvPr/>
          </p:nvSpPr>
          <p:spPr>
            <a:xfrm>
              <a:off x="2684927" y="1485437"/>
              <a:ext cx="2643240" cy="64633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 defTabSz="685800">
                <a:defRPr/>
              </a:pPr>
              <a:r>
                <a:rPr lang="en-US" sz="1200" b="1" spc="100" dirty="0" smtClean="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rPr>
                <a:t>GREATER PREMIUM ON SHORTENED SUPPLY CHAINS</a:t>
              </a:r>
              <a:endParaRPr lang="en-US" sz="1200" b="1" spc="100" dirty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</p:grpSp>
      <p:grpSp>
        <p:nvGrpSpPr>
          <p:cNvPr id="25" name="Group 24"/>
          <p:cNvGrpSpPr/>
          <p:nvPr/>
        </p:nvGrpSpPr>
        <p:grpSpPr>
          <a:xfrm>
            <a:off x="5609191" y="1579268"/>
            <a:ext cx="2535594" cy="515680"/>
            <a:chOff x="5609191" y="1579268"/>
            <a:chExt cx="2535594" cy="515680"/>
          </a:xfrm>
        </p:grpSpPr>
        <p:sp>
          <p:nvSpPr>
            <p:cNvPr id="21" name="Rounded Rectangle 20"/>
            <p:cNvSpPr/>
            <p:nvPr/>
          </p:nvSpPr>
          <p:spPr>
            <a:xfrm>
              <a:off x="5609191" y="1579268"/>
              <a:ext cx="2456628" cy="515680"/>
            </a:xfrm>
            <a:prstGeom prst="roundRect">
              <a:avLst/>
            </a:prstGeom>
            <a:solidFill>
              <a:srgbClr val="007DC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rgbClr val="004C91"/>
                </a:solidFill>
              </a:endParaRPr>
            </a:p>
          </p:txBody>
        </p:sp>
        <p:sp>
          <p:nvSpPr>
            <p:cNvPr id="5" name="Rectangle 4"/>
            <p:cNvSpPr/>
            <p:nvPr/>
          </p:nvSpPr>
          <p:spPr>
            <a:xfrm>
              <a:off x="5609191" y="1584547"/>
              <a:ext cx="2535594" cy="46166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 defTabSz="685800">
                <a:defRPr/>
              </a:pPr>
              <a:r>
                <a:rPr lang="en-US" sz="1200" b="1" spc="100" dirty="0" smtClean="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rPr>
                <a:t>TRANSFORMATION OF GLOBAL MANUFACTURING</a:t>
              </a:r>
              <a:endParaRPr lang="en-US" sz="1200" b="1" spc="100" dirty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7777241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 smtClean="0">
                <a:solidFill>
                  <a:srgbClr val="007DC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licy Barriers</a:t>
            </a:r>
            <a:endParaRPr lang="en-US" dirty="0">
              <a:solidFill>
                <a:srgbClr val="007DC6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1447800" y="1460721"/>
            <a:ext cx="5715000" cy="609600"/>
          </a:xfrm>
          <a:prstGeom prst="rect">
            <a:avLst/>
          </a:prstGeom>
          <a:solidFill>
            <a:srgbClr val="007DC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 smtClean="0">
                <a:latin typeface="Arial" charset="0"/>
                <a:ea typeface="Arial" charset="0"/>
                <a:cs typeface="Arial" charset="0"/>
              </a:rPr>
              <a:t>Workforce</a:t>
            </a:r>
            <a:endParaRPr lang="en-US" b="1" dirty="0"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1447800" y="2114550"/>
            <a:ext cx="5715000" cy="609600"/>
          </a:xfrm>
          <a:prstGeom prst="rect">
            <a:avLst/>
          </a:prstGeom>
          <a:solidFill>
            <a:srgbClr val="2F295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 smtClean="0">
                <a:latin typeface="Arial" charset="0"/>
                <a:ea typeface="Arial" charset="0"/>
                <a:cs typeface="Arial" charset="0"/>
              </a:rPr>
              <a:t>Coordination &amp; Financing</a:t>
            </a:r>
            <a:endParaRPr lang="en-US" b="1" dirty="0"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1447800" y="2768379"/>
            <a:ext cx="5715000" cy="609600"/>
          </a:xfrm>
          <a:prstGeom prst="rect">
            <a:avLst/>
          </a:prstGeom>
          <a:solidFill>
            <a:srgbClr val="EC1D2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 smtClean="0">
                <a:latin typeface="Arial" charset="0"/>
                <a:ea typeface="Arial" charset="0"/>
                <a:cs typeface="Arial" charset="0"/>
              </a:rPr>
              <a:t>Regulation</a:t>
            </a:r>
            <a:endParaRPr lang="en-US" b="1" dirty="0"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1447800" y="3422208"/>
            <a:ext cx="5715000" cy="609600"/>
          </a:xfrm>
          <a:prstGeom prst="rect">
            <a:avLst/>
          </a:prstGeom>
          <a:solidFill>
            <a:srgbClr val="FFC22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 smtClean="0">
                <a:latin typeface="Arial" charset="0"/>
                <a:ea typeface="Arial" charset="0"/>
                <a:cs typeface="Arial" charset="0"/>
              </a:rPr>
              <a:t>Tax &amp; Trade</a:t>
            </a:r>
            <a:endParaRPr lang="en-US" b="1" dirty="0">
              <a:latin typeface="Arial" charset="0"/>
              <a:ea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280876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5" name="Object 4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144193" y="1589"/>
          <a:ext cx="1190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94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44193" y="1589"/>
                        <a:ext cx="1190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 bwMode="gray">
          <a:xfrm>
            <a:off x="1143000" y="1"/>
            <a:ext cx="119063" cy="158750"/>
          </a:xfrm>
          <a:prstGeom prst="rect">
            <a:avLst/>
          </a:prstGeom>
          <a:solidFill>
            <a:srgbClr val="E2E2E2"/>
          </a:solidFill>
          <a:ln w="9525">
            <a:solidFill>
              <a:srgbClr val="E2E2E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 defTabSz="584439">
              <a:spcBef>
                <a:spcPct val="0"/>
              </a:spcBef>
              <a:spcAft>
                <a:spcPct val="0"/>
              </a:spcAft>
            </a:pPr>
            <a:endParaRPr lang="en-US" sz="750" dirty="0">
              <a:solidFill>
                <a:srgbClr val="003896"/>
              </a:solidFill>
              <a:sym typeface="+mn-lt"/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1406530" y="878436"/>
            <a:ext cx="36576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spc="200" dirty="0" smtClean="0">
                <a:latin typeface="Arial" charset="0"/>
                <a:ea typeface="Arial" charset="0"/>
                <a:cs typeface="Arial" charset="0"/>
              </a:rPr>
              <a:t>POLICY LEVER</a:t>
            </a:r>
            <a:endParaRPr lang="en-US" sz="1200" b="1" spc="200" dirty="0"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4604483" y="810178"/>
            <a:ext cx="80996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smtClean="0">
                <a:latin typeface="Arial" charset="0"/>
                <a:ea typeface="Arial" charset="0"/>
                <a:cs typeface="Arial" charset="0"/>
              </a:rPr>
              <a:t>FEDERAL </a:t>
            </a:r>
            <a:r>
              <a:rPr lang="en-US" sz="1000" b="1" dirty="0" smtClean="0">
                <a:latin typeface="Arial" charset="0"/>
                <a:ea typeface="Arial" charset="0"/>
                <a:cs typeface="Arial" charset="0"/>
              </a:rPr>
              <a:t>GOV.</a:t>
            </a:r>
            <a:endParaRPr lang="en-US" sz="1000" b="1" dirty="0"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103" name="TextBox 102"/>
          <p:cNvSpPr txBox="1"/>
          <p:nvPr/>
        </p:nvSpPr>
        <p:spPr>
          <a:xfrm>
            <a:off x="5414449" y="811483"/>
            <a:ext cx="86442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smtClean="0">
                <a:latin typeface="Arial" charset="0"/>
                <a:ea typeface="Arial" charset="0"/>
                <a:cs typeface="Arial" charset="0"/>
              </a:rPr>
              <a:t>LOCAL GOV.</a:t>
            </a:r>
            <a:endParaRPr lang="en-US" sz="1000" b="1" dirty="0"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104" name="TextBox 103"/>
          <p:cNvSpPr txBox="1"/>
          <p:nvPr/>
        </p:nvSpPr>
        <p:spPr>
          <a:xfrm>
            <a:off x="6288565" y="803230"/>
            <a:ext cx="84126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 smtClean="0">
                <a:latin typeface="Arial" charset="0"/>
                <a:ea typeface="Arial" charset="0"/>
                <a:cs typeface="Arial" charset="0"/>
              </a:rPr>
              <a:t>MFG.</a:t>
            </a:r>
          </a:p>
          <a:p>
            <a:pPr algn="ctr"/>
            <a:r>
              <a:rPr lang="en-US" sz="1000" b="1" dirty="0" smtClean="0">
                <a:latin typeface="Arial" charset="0"/>
                <a:ea typeface="Arial" charset="0"/>
                <a:cs typeface="Arial" charset="0"/>
              </a:rPr>
              <a:t>INDUSTRY </a:t>
            </a:r>
            <a:endParaRPr lang="en-US" sz="1000" b="1" dirty="0"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105" name="TextBox 104"/>
          <p:cNvSpPr txBox="1"/>
          <p:nvPr/>
        </p:nvSpPr>
        <p:spPr>
          <a:xfrm>
            <a:off x="6900647" y="893519"/>
            <a:ext cx="136143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 smtClean="0">
                <a:latin typeface="Arial" charset="0"/>
                <a:ea typeface="Arial" charset="0"/>
                <a:cs typeface="Arial" charset="0"/>
              </a:rPr>
              <a:t>RETAILERS</a:t>
            </a:r>
            <a:endParaRPr lang="en-US" sz="1000" b="1" dirty="0">
              <a:latin typeface="Arial" charset="0"/>
              <a:ea typeface="Arial" charset="0"/>
              <a:cs typeface="Arial" charset="0"/>
            </a:endParaRPr>
          </a:p>
        </p:txBody>
      </p:sp>
      <p:cxnSp>
        <p:nvCxnSpPr>
          <p:cNvPr id="16" name="Straight Connector 15"/>
          <p:cNvCxnSpPr/>
          <p:nvPr/>
        </p:nvCxnSpPr>
        <p:spPr>
          <a:xfrm>
            <a:off x="1447800" y="1251191"/>
            <a:ext cx="6629400" cy="59134"/>
          </a:xfrm>
          <a:prstGeom prst="line">
            <a:avLst/>
          </a:prstGeom>
          <a:ln>
            <a:solidFill>
              <a:srgbClr val="2F295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6" name="Title 1"/>
          <p:cNvSpPr>
            <a:spLocks noGrp="1"/>
          </p:cNvSpPr>
          <p:nvPr>
            <p:ph type="title"/>
          </p:nvPr>
        </p:nvSpPr>
        <p:spPr>
          <a:xfrm>
            <a:off x="453846" y="130463"/>
            <a:ext cx="7093309" cy="643326"/>
          </a:xfrm>
        </p:spPr>
        <p:txBody>
          <a:bodyPr>
            <a:normAutofit/>
          </a:bodyPr>
          <a:lstStyle/>
          <a:p>
            <a:r>
              <a:rPr lang="en-US" dirty="0" smtClean="0">
                <a:solidFill>
                  <a:srgbClr val="007DC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e First Five Policy Levers </a:t>
            </a:r>
            <a:endParaRPr lang="en-US" dirty="0">
              <a:solidFill>
                <a:srgbClr val="007DC6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23" name="Group 22"/>
          <p:cNvGrpSpPr/>
          <p:nvPr/>
        </p:nvGrpSpPr>
        <p:grpSpPr>
          <a:xfrm>
            <a:off x="203194" y="1370260"/>
            <a:ext cx="446431" cy="1648164"/>
            <a:chOff x="230632" y="1510005"/>
            <a:chExt cx="446431" cy="1648164"/>
          </a:xfrm>
        </p:grpSpPr>
        <p:grpSp>
          <p:nvGrpSpPr>
            <p:cNvPr id="4" name="Group 3"/>
            <p:cNvGrpSpPr/>
            <p:nvPr/>
          </p:nvGrpSpPr>
          <p:grpSpPr>
            <a:xfrm>
              <a:off x="230632" y="1510005"/>
              <a:ext cx="446431" cy="1648164"/>
              <a:chOff x="194993" y="1454817"/>
              <a:chExt cx="517709" cy="1911312"/>
            </a:xfrm>
          </p:grpSpPr>
          <p:sp>
            <p:nvSpPr>
              <p:cNvPr id="3" name="Oval 2"/>
              <p:cNvSpPr/>
              <p:nvPr/>
            </p:nvSpPr>
            <p:spPr>
              <a:xfrm>
                <a:off x="194993" y="1454817"/>
                <a:ext cx="517706" cy="517706"/>
              </a:xfrm>
              <a:prstGeom prst="ellipse">
                <a:avLst/>
              </a:prstGeom>
              <a:solidFill>
                <a:srgbClr val="007DC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0" name="Rectangle 39"/>
              <p:cNvSpPr/>
              <p:nvPr/>
            </p:nvSpPr>
            <p:spPr>
              <a:xfrm rot="16200000">
                <a:off x="-233014" y="2161560"/>
                <a:ext cx="1373726" cy="517707"/>
              </a:xfrm>
              <a:prstGeom prst="rect">
                <a:avLst/>
              </a:prstGeom>
              <a:solidFill>
                <a:srgbClr val="007DC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b="1" dirty="0">
                  <a:latin typeface="Arial" charset="0"/>
                  <a:ea typeface="Arial" charset="0"/>
                  <a:cs typeface="Arial" charset="0"/>
                </a:endParaRPr>
              </a:p>
            </p:txBody>
          </p:sp>
          <p:sp>
            <p:nvSpPr>
              <p:cNvPr id="42" name="Oval 41"/>
              <p:cNvSpPr/>
              <p:nvPr/>
            </p:nvSpPr>
            <p:spPr>
              <a:xfrm>
                <a:off x="194993" y="2848422"/>
                <a:ext cx="517707" cy="517707"/>
              </a:xfrm>
              <a:prstGeom prst="ellipse">
                <a:avLst/>
              </a:prstGeom>
              <a:solidFill>
                <a:srgbClr val="007DC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sp>
          <p:nvSpPr>
            <p:cNvPr id="5" name="TextBox 4"/>
            <p:cNvSpPr txBox="1"/>
            <p:nvPr/>
          </p:nvSpPr>
          <p:spPr>
            <a:xfrm rot="16200000">
              <a:off x="-323452" y="2174576"/>
              <a:ext cx="1560266" cy="2616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100" b="1" spc="300" dirty="0" smtClean="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rPr>
                <a:t>WORKFORCE</a:t>
              </a:r>
              <a:endParaRPr lang="en-US" sz="1100" b="1" spc="300" dirty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</p:grpSp>
      <p:sp>
        <p:nvSpPr>
          <p:cNvPr id="10" name="TextBox 9"/>
          <p:cNvSpPr txBox="1"/>
          <p:nvPr/>
        </p:nvSpPr>
        <p:spPr>
          <a:xfrm>
            <a:off x="1404093" y="1397164"/>
            <a:ext cx="3015508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>
                <a:latin typeface="Avenir Book" charset="0"/>
                <a:ea typeface="Avenir Book" charset="0"/>
                <a:cs typeface="Avenir Book" charset="0"/>
              </a:rPr>
              <a:t>Build vocational training programs </a:t>
            </a:r>
            <a:r>
              <a:rPr lang="en-US" sz="1200" dirty="0" smtClean="0">
                <a:latin typeface="Avenir Book" charset="0"/>
                <a:ea typeface="Avenir Book" charset="0"/>
                <a:cs typeface="Avenir Book" charset="0"/>
              </a:rPr>
              <a:t/>
            </a:r>
            <a:br>
              <a:rPr lang="en-US" sz="1200" dirty="0" smtClean="0">
                <a:latin typeface="Avenir Book" charset="0"/>
                <a:ea typeface="Avenir Book" charset="0"/>
                <a:cs typeface="Avenir Book" charset="0"/>
              </a:rPr>
            </a:br>
            <a:r>
              <a:rPr lang="en-US" sz="1200" dirty="0" smtClean="0">
                <a:latin typeface="Avenir Book" charset="0"/>
                <a:ea typeface="Avenir Book" charset="0"/>
                <a:cs typeface="Avenir Book" charset="0"/>
              </a:rPr>
              <a:t>linked </a:t>
            </a:r>
            <a:r>
              <a:rPr lang="en-US" sz="1200" dirty="0">
                <a:latin typeface="Avenir Book" charset="0"/>
                <a:ea typeface="Avenir Book" charset="0"/>
                <a:cs typeface="Avenir Book" charset="0"/>
              </a:rPr>
              <a:t>to local industry</a:t>
            </a:r>
          </a:p>
          <a:p>
            <a:endParaRPr lang="en-US" dirty="0"/>
          </a:p>
        </p:txBody>
      </p:sp>
      <p:grpSp>
        <p:nvGrpSpPr>
          <p:cNvPr id="24" name="Group 23"/>
          <p:cNvGrpSpPr/>
          <p:nvPr/>
        </p:nvGrpSpPr>
        <p:grpSpPr>
          <a:xfrm>
            <a:off x="880765" y="1430000"/>
            <a:ext cx="338446" cy="338554"/>
            <a:chOff x="880765" y="1542841"/>
            <a:chExt cx="338446" cy="338554"/>
          </a:xfrm>
        </p:grpSpPr>
        <p:sp>
          <p:nvSpPr>
            <p:cNvPr id="9" name="Oval 8"/>
            <p:cNvSpPr/>
            <p:nvPr/>
          </p:nvSpPr>
          <p:spPr>
            <a:xfrm>
              <a:off x="880765" y="1542895"/>
              <a:ext cx="338446" cy="338446"/>
            </a:xfrm>
            <a:prstGeom prst="ellipse">
              <a:avLst/>
            </a:prstGeom>
            <a:solidFill>
              <a:srgbClr val="007DC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" name="TextBox 11"/>
            <p:cNvSpPr txBox="1"/>
            <p:nvPr/>
          </p:nvSpPr>
          <p:spPr>
            <a:xfrm>
              <a:off x="905947" y="1542841"/>
              <a:ext cx="304811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600" b="1" dirty="0" smtClean="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rPr>
                <a:t>1</a:t>
              </a:r>
              <a:endParaRPr lang="en-US" sz="1600" b="1" dirty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</p:grpSp>
      <p:sp>
        <p:nvSpPr>
          <p:cNvPr id="51" name="Oval 50"/>
          <p:cNvSpPr/>
          <p:nvPr/>
        </p:nvSpPr>
        <p:spPr>
          <a:xfrm>
            <a:off x="4958187" y="1501645"/>
            <a:ext cx="195264" cy="195264"/>
          </a:xfrm>
          <a:prstGeom prst="ellipse">
            <a:avLst/>
          </a:prstGeom>
          <a:solidFill>
            <a:srgbClr val="007DC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2" name="Oval 51"/>
          <p:cNvSpPr/>
          <p:nvPr/>
        </p:nvSpPr>
        <p:spPr>
          <a:xfrm>
            <a:off x="5749031" y="1495842"/>
            <a:ext cx="195264" cy="195264"/>
          </a:xfrm>
          <a:prstGeom prst="ellipse">
            <a:avLst/>
          </a:prstGeom>
          <a:solidFill>
            <a:srgbClr val="007DC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3" name="Oval 52"/>
          <p:cNvSpPr/>
          <p:nvPr/>
        </p:nvSpPr>
        <p:spPr>
          <a:xfrm>
            <a:off x="6611563" y="1495842"/>
            <a:ext cx="195264" cy="195264"/>
          </a:xfrm>
          <a:prstGeom prst="ellipse">
            <a:avLst/>
          </a:prstGeom>
          <a:solidFill>
            <a:srgbClr val="007DC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Half Frame 17"/>
          <p:cNvSpPr/>
          <p:nvPr/>
        </p:nvSpPr>
        <p:spPr>
          <a:xfrm rot="7980000">
            <a:off x="4321969" y="1501644"/>
            <a:ext cx="195264" cy="195264"/>
          </a:xfrm>
          <a:prstGeom prst="halfFrame">
            <a:avLst/>
          </a:prstGeom>
          <a:solidFill>
            <a:srgbClr val="007DC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61" name="TextBox 60"/>
          <p:cNvSpPr txBox="1"/>
          <p:nvPr/>
        </p:nvSpPr>
        <p:spPr>
          <a:xfrm>
            <a:off x="1404093" y="1992230"/>
            <a:ext cx="3015508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85800">
              <a:defRPr/>
            </a:pPr>
            <a:r>
              <a:rPr lang="en-US" sz="1200" dirty="0">
                <a:latin typeface="Avenir Book" charset="0"/>
                <a:ea typeface="Avenir Book" charset="0"/>
                <a:cs typeface="Avenir Book" charset="0"/>
              </a:rPr>
              <a:t>Reduce financial burden on private industry to train and upskill workers</a:t>
            </a:r>
          </a:p>
          <a:p>
            <a:endParaRPr lang="en-US" dirty="0"/>
          </a:p>
        </p:txBody>
      </p:sp>
      <p:grpSp>
        <p:nvGrpSpPr>
          <p:cNvPr id="62" name="Group 61"/>
          <p:cNvGrpSpPr/>
          <p:nvPr/>
        </p:nvGrpSpPr>
        <p:grpSpPr>
          <a:xfrm>
            <a:off x="880765" y="2017117"/>
            <a:ext cx="338446" cy="346449"/>
            <a:chOff x="880765" y="1534892"/>
            <a:chExt cx="338446" cy="346449"/>
          </a:xfrm>
        </p:grpSpPr>
        <p:sp>
          <p:nvSpPr>
            <p:cNvPr id="63" name="Oval 62"/>
            <p:cNvSpPr/>
            <p:nvPr/>
          </p:nvSpPr>
          <p:spPr>
            <a:xfrm>
              <a:off x="880765" y="1542895"/>
              <a:ext cx="338446" cy="338446"/>
            </a:xfrm>
            <a:prstGeom prst="ellipse">
              <a:avLst/>
            </a:prstGeom>
            <a:solidFill>
              <a:srgbClr val="007DC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4" name="TextBox 63"/>
            <p:cNvSpPr txBox="1"/>
            <p:nvPr/>
          </p:nvSpPr>
          <p:spPr>
            <a:xfrm>
              <a:off x="907340" y="1534892"/>
              <a:ext cx="304811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600" b="1" dirty="0" smtClean="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rPr>
                <a:t>2</a:t>
              </a:r>
              <a:endParaRPr lang="en-US" sz="1600" b="1" dirty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</p:grpSp>
      <p:sp>
        <p:nvSpPr>
          <p:cNvPr id="65" name="Oval 64"/>
          <p:cNvSpPr/>
          <p:nvPr/>
        </p:nvSpPr>
        <p:spPr>
          <a:xfrm>
            <a:off x="4958187" y="2088762"/>
            <a:ext cx="195264" cy="195264"/>
          </a:xfrm>
          <a:prstGeom prst="ellipse">
            <a:avLst/>
          </a:prstGeom>
          <a:solidFill>
            <a:srgbClr val="007DC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7" name="Oval 66"/>
          <p:cNvSpPr/>
          <p:nvPr/>
        </p:nvSpPr>
        <p:spPr>
          <a:xfrm>
            <a:off x="5749031" y="2088762"/>
            <a:ext cx="195264" cy="195264"/>
          </a:xfrm>
          <a:prstGeom prst="ellipse">
            <a:avLst/>
          </a:prstGeom>
          <a:solidFill>
            <a:srgbClr val="007DC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8" name="Oval 67"/>
          <p:cNvSpPr/>
          <p:nvPr/>
        </p:nvSpPr>
        <p:spPr>
          <a:xfrm>
            <a:off x="6611563" y="2088762"/>
            <a:ext cx="195264" cy="195264"/>
          </a:xfrm>
          <a:prstGeom prst="ellipse">
            <a:avLst/>
          </a:prstGeom>
          <a:solidFill>
            <a:srgbClr val="007DC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9" name="Half Frame 68"/>
          <p:cNvSpPr/>
          <p:nvPr/>
        </p:nvSpPr>
        <p:spPr>
          <a:xfrm rot="7980000">
            <a:off x="4321969" y="2096710"/>
            <a:ext cx="195264" cy="195264"/>
          </a:xfrm>
          <a:prstGeom prst="halfFrame">
            <a:avLst/>
          </a:prstGeom>
          <a:solidFill>
            <a:srgbClr val="007DC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70" name="TextBox 69"/>
          <p:cNvSpPr txBox="1"/>
          <p:nvPr/>
        </p:nvSpPr>
        <p:spPr>
          <a:xfrm>
            <a:off x="1404093" y="2544061"/>
            <a:ext cx="3015508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85800">
              <a:defRPr/>
            </a:pPr>
            <a:r>
              <a:rPr lang="en-US" sz="1200" dirty="0">
                <a:latin typeface="Avenir Book" charset="0"/>
                <a:ea typeface="Avenir Book" charset="0"/>
                <a:cs typeface="Avenir Book" charset="0"/>
              </a:rPr>
              <a:t>Rebrand U.S. manufacturing to attract new workers and drive demand of domestic products</a:t>
            </a:r>
          </a:p>
          <a:p>
            <a:endParaRPr lang="en-US" dirty="0"/>
          </a:p>
        </p:txBody>
      </p:sp>
      <p:grpSp>
        <p:nvGrpSpPr>
          <p:cNvPr id="71" name="Group 70"/>
          <p:cNvGrpSpPr/>
          <p:nvPr/>
        </p:nvGrpSpPr>
        <p:grpSpPr>
          <a:xfrm>
            <a:off x="880765" y="2568840"/>
            <a:ext cx="338446" cy="346557"/>
            <a:chOff x="880765" y="1534784"/>
            <a:chExt cx="338446" cy="346557"/>
          </a:xfrm>
        </p:grpSpPr>
        <p:sp>
          <p:nvSpPr>
            <p:cNvPr id="72" name="Oval 71"/>
            <p:cNvSpPr/>
            <p:nvPr/>
          </p:nvSpPr>
          <p:spPr>
            <a:xfrm>
              <a:off x="880765" y="1542895"/>
              <a:ext cx="338446" cy="338446"/>
            </a:xfrm>
            <a:prstGeom prst="ellipse">
              <a:avLst/>
            </a:prstGeom>
            <a:solidFill>
              <a:srgbClr val="007DC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3" name="TextBox 72"/>
            <p:cNvSpPr txBox="1"/>
            <p:nvPr/>
          </p:nvSpPr>
          <p:spPr>
            <a:xfrm>
              <a:off x="907341" y="1534784"/>
              <a:ext cx="304811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600" b="1" dirty="0" smtClean="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rPr>
                <a:t>3</a:t>
              </a:r>
              <a:endParaRPr lang="en-US" sz="1600" b="1" dirty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</p:grpSp>
      <p:sp>
        <p:nvSpPr>
          <p:cNvPr id="74" name="Oval 73"/>
          <p:cNvSpPr/>
          <p:nvPr/>
        </p:nvSpPr>
        <p:spPr>
          <a:xfrm>
            <a:off x="4958187" y="2648542"/>
            <a:ext cx="195264" cy="195264"/>
          </a:xfrm>
          <a:prstGeom prst="ellipse">
            <a:avLst/>
          </a:prstGeom>
          <a:solidFill>
            <a:srgbClr val="007DC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6" name="Oval 75"/>
          <p:cNvSpPr/>
          <p:nvPr/>
        </p:nvSpPr>
        <p:spPr>
          <a:xfrm>
            <a:off x="5749031" y="2648542"/>
            <a:ext cx="195264" cy="195264"/>
          </a:xfrm>
          <a:prstGeom prst="ellipse">
            <a:avLst/>
          </a:prstGeom>
          <a:solidFill>
            <a:srgbClr val="007DC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7" name="Oval 76"/>
          <p:cNvSpPr/>
          <p:nvPr/>
        </p:nvSpPr>
        <p:spPr>
          <a:xfrm>
            <a:off x="6611563" y="2648542"/>
            <a:ext cx="195264" cy="195264"/>
          </a:xfrm>
          <a:prstGeom prst="ellipse">
            <a:avLst/>
          </a:prstGeom>
          <a:solidFill>
            <a:srgbClr val="007DC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8" name="Half Frame 77"/>
          <p:cNvSpPr/>
          <p:nvPr/>
        </p:nvSpPr>
        <p:spPr>
          <a:xfrm rot="7980000">
            <a:off x="4321969" y="2648541"/>
            <a:ext cx="195264" cy="195264"/>
          </a:xfrm>
          <a:prstGeom prst="halfFrame">
            <a:avLst/>
          </a:prstGeom>
          <a:solidFill>
            <a:srgbClr val="007DC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79" name="Oval 78"/>
          <p:cNvSpPr/>
          <p:nvPr/>
        </p:nvSpPr>
        <p:spPr>
          <a:xfrm>
            <a:off x="7483733" y="2648542"/>
            <a:ext cx="195264" cy="195264"/>
          </a:xfrm>
          <a:prstGeom prst="ellipse">
            <a:avLst/>
          </a:prstGeom>
          <a:solidFill>
            <a:srgbClr val="007DC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80" name="Group 79"/>
          <p:cNvGrpSpPr/>
          <p:nvPr/>
        </p:nvGrpSpPr>
        <p:grpSpPr>
          <a:xfrm>
            <a:off x="174562" y="2960947"/>
            <a:ext cx="536874" cy="2209816"/>
            <a:chOff x="211990" y="1494249"/>
            <a:chExt cx="446432" cy="1882700"/>
          </a:xfrm>
        </p:grpSpPr>
        <p:grpSp>
          <p:nvGrpSpPr>
            <p:cNvPr id="81" name="Group 80"/>
            <p:cNvGrpSpPr/>
            <p:nvPr/>
          </p:nvGrpSpPr>
          <p:grpSpPr>
            <a:xfrm>
              <a:off x="211990" y="1646783"/>
              <a:ext cx="446432" cy="1604327"/>
              <a:chOff x="173375" y="1613433"/>
              <a:chExt cx="517710" cy="1860475"/>
            </a:xfrm>
          </p:grpSpPr>
          <p:sp>
            <p:nvSpPr>
              <p:cNvPr id="84" name="Oval 83"/>
              <p:cNvSpPr/>
              <p:nvPr/>
            </p:nvSpPr>
            <p:spPr>
              <a:xfrm>
                <a:off x="173375" y="1613433"/>
                <a:ext cx="517706" cy="517706"/>
              </a:xfrm>
              <a:prstGeom prst="ellipse">
                <a:avLst/>
              </a:prstGeom>
              <a:solidFill>
                <a:srgbClr val="004C9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85" name="Rectangle 84"/>
              <p:cNvSpPr/>
              <p:nvPr/>
            </p:nvSpPr>
            <p:spPr>
              <a:xfrm rot="16200000">
                <a:off x="-254632" y="2269338"/>
                <a:ext cx="1373726" cy="517708"/>
              </a:xfrm>
              <a:prstGeom prst="rect">
                <a:avLst/>
              </a:prstGeom>
              <a:solidFill>
                <a:srgbClr val="004C9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b="1" dirty="0">
                  <a:latin typeface="Arial" charset="0"/>
                  <a:ea typeface="Arial" charset="0"/>
                  <a:cs typeface="Arial" charset="0"/>
                </a:endParaRPr>
              </a:p>
            </p:txBody>
          </p:sp>
          <p:sp>
            <p:nvSpPr>
              <p:cNvPr id="86" name="Oval 85"/>
              <p:cNvSpPr/>
              <p:nvPr/>
            </p:nvSpPr>
            <p:spPr>
              <a:xfrm>
                <a:off x="173375" y="2956202"/>
                <a:ext cx="517707" cy="517706"/>
              </a:xfrm>
              <a:prstGeom prst="ellipse">
                <a:avLst/>
              </a:prstGeom>
              <a:solidFill>
                <a:srgbClr val="004C9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sp>
          <p:nvSpPr>
            <p:cNvPr id="82" name="TextBox 81"/>
            <p:cNvSpPr txBox="1"/>
            <p:nvPr/>
          </p:nvSpPr>
          <p:spPr>
            <a:xfrm rot="16200000">
              <a:off x="-496443" y="2269155"/>
              <a:ext cx="1882700" cy="33288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100" b="1" spc="300" dirty="0" smtClean="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rPr>
                <a:t>COORDINATION </a:t>
              </a:r>
              <a:br>
                <a:rPr lang="en-US" sz="1100" b="1" spc="300" dirty="0" smtClean="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lang="en-US" sz="1100" b="1" spc="300" dirty="0" smtClean="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rPr>
                <a:t>&amp; FINANCING</a:t>
              </a:r>
              <a:endParaRPr lang="en-US" sz="1100" b="1" spc="300" dirty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</p:grpSp>
      <p:sp>
        <p:nvSpPr>
          <p:cNvPr id="87" name="TextBox 86"/>
          <p:cNvSpPr txBox="1"/>
          <p:nvPr/>
        </p:nvSpPr>
        <p:spPr>
          <a:xfrm>
            <a:off x="1404092" y="3472715"/>
            <a:ext cx="2476923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85800">
              <a:defRPr/>
            </a:pPr>
            <a:r>
              <a:rPr lang="en-US" sz="1200">
                <a:latin typeface="Avenir Book" charset="0"/>
                <a:ea typeface="Avenir Book" charset="0"/>
                <a:cs typeface="Avenir Book" charset="0"/>
              </a:rPr>
              <a:t>Encourage growth of product components to help close supply chain gaps</a:t>
            </a:r>
          </a:p>
          <a:p>
            <a:endParaRPr lang="en-US" dirty="0"/>
          </a:p>
        </p:txBody>
      </p:sp>
      <p:grpSp>
        <p:nvGrpSpPr>
          <p:cNvPr id="88" name="Group 87"/>
          <p:cNvGrpSpPr/>
          <p:nvPr/>
        </p:nvGrpSpPr>
        <p:grpSpPr>
          <a:xfrm>
            <a:off x="880765" y="3505551"/>
            <a:ext cx="338446" cy="338554"/>
            <a:chOff x="880765" y="1542841"/>
            <a:chExt cx="338446" cy="338554"/>
          </a:xfrm>
        </p:grpSpPr>
        <p:sp>
          <p:nvSpPr>
            <p:cNvPr id="89" name="Oval 88"/>
            <p:cNvSpPr/>
            <p:nvPr/>
          </p:nvSpPr>
          <p:spPr>
            <a:xfrm>
              <a:off x="880765" y="1542895"/>
              <a:ext cx="338446" cy="338446"/>
            </a:xfrm>
            <a:prstGeom prst="ellipse">
              <a:avLst/>
            </a:prstGeom>
            <a:solidFill>
              <a:srgbClr val="004C9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0" name="TextBox 89"/>
            <p:cNvSpPr txBox="1"/>
            <p:nvPr/>
          </p:nvSpPr>
          <p:spPr>
            <a:xfrm>
              <a:off x="905947" y="1542841"/>
              <a:ext cx="304811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600" b="1" dirty="0" smtClean="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rPr>
                <a:t>4</a:t>
              </a:r>
              <a:endParaRPr lang="en-US" sz="1600" b="1" dirty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</p:grpSp>
      <p:sp>
        <p:nvSpPr>
          <p:cNvPr id="91" name="Oval 90"/>
          <p:cNvSpPr/>
          <p:nvPr/>
        </p:nvSpPr>
        <p:spPr>
          <a:xfrm>
            <a:off x="4958187" y="3546971"/>
            <a:ext cx="195264" cy="195264"/>
          </a:xfrm>
          <a:prstGeom prst="ellipse">
            <a:avLst/>
          </a:prstGeom>
          <a:solidFill>
            <a:srgbClr val="004C9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3" name="Oval 92"/>
          <p:cNvSpPr/>
          <p:nvPr/>
        </p:nvSpPr>
        <p:spPr>
          <a:xfrm>
            <a:off x="5749031" y="3546971"/>
            <a:ext cx="195264" cy="195264"/>
          </a:xfrm>
          <a:prstGeom prst="ellipse">
            <a:avLst/>
          </a:prstGeom>
          <a:solidFill>
            <a:srgbClr val="004C9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4" name="Oval 93"/>
          <p:cNvSpPr/>
          <p:nvPr/>
        </p:nvSpPr>
        <p:spPr>
          <a:xfrm>
            <a:off x="6611563" y="3552416"/>
            <a:ext cx="195264" cy="195264"/>
          </a:xfrm>
          <a:prstGeom prst="ellipse">
            <a:avLst/>
          </a:prstGeom>
          <a:solidFill>
            <a:srgbClr val="004C9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2" name="Half Frame 101"/>
          <p:cNvSpPr/>
          <p:nvPr/>
        </p:nvSpPr>
        <p:spPr>
          <a:xfrm rot="7980000">
            <a:off x="4321969" y="3577195"/>
            <a:ext cx="195264" cy="195264"/>
          </a:xfrm>
          <a:prstGeom prst="halfFrame">
            <a:avLst/>
          </a:prstGeom>
          <a:solidFill>
            <a:srgbClr val="004C9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108" name="TextBox 107"/>
          <p:cNvSpPr txBox="1"/>
          <p:nvPr/>
        </p:nvSpPr>
        <p:spPr>
          <a:xfrm>
            <a:off x="1404093" y="4259804"/>
            <a:ext cx="2661803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85800">
              <a:defRPr/>
            </a:pPr>
            <a:r>
              <a:rPr lang="en-US" sz="1200" dirty="0">
                <a:latin typeface="Avenir Book" charset="0"/>
                <a:ea typeface="Avenir Book" charset="0"/>
                <a:cs typeface="Avenir Book" charset="0"/>
              </a:rPr>
              <a:t>Facilitate private-public cooperation to promote manufacturing clusters</a:t>
            </a:r>
          </a:p>
          <a:p>
            <a:endParaRPr lang="en-US" dirty="0"/>
          </a:p>
        </p:txBody>
      </p:sp>
      <p:grpSp>
        <p:nvGrpSpPr>
          <p:cNvPr id="110" name="Group 109"/>
          <p:cNvGrpSpPr/>
          <p:nvPr/>
        </p:nvGrpSpPr>
        <p:grpSpPr>
          <a:xfrm>
            <a:off x="880765" y="4284691"/>
            <a:ext cx="338446" cy="346449"/>
            <a:chOff x="880765" y="1534892"/>
            <a:chExt cx="338446" cy="346449"/>
          </a:xfrm>
        </p:grpSpPr>
        <p:sp>
          <p:nvSpPr>
            <p:cNvPr id="111" name="Oval 110"/>
            <p:cNvSpPr/>
            <p:nvPr/>
          </p:nvSpPr>
          <p:spPr>
            <a:xfrm>
              <a:off x="880765" y="1542895"/>
              <a:ext cx="338446" cy="338446"/>
            </a:xfrm>
            <a:prstGeom prst="ellipse">
              <a:avLst/>
            </a:prstGeom>
            <a:solidFill>
              <a:srgbClr val="004C9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2" name="TextBox 111"/>
            <p:cNvSpPr txBox="1"/>
            <p:nvPr/>
          </p:nvSpPr>
          <p:spPr>
            <a:xfrm>
              <a:off x="896317" y="1534892"/>
              <a:ext cx="304811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600" b="1" dirty="0" smtClean="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rPr>
                <a:t>5</a:t>
              </a:r>
              <a:endParaRPr lang="en-US" sz="1600" b="1" dirty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</p:grpSp>
      <p:sp>
        <p:nvSpPr>
          <p:cNvPr id="113" name="Oval 112"/>
          <p:cNvSpPr/>
          <p:nvPr/>
        </p:nvSpPr>
        <p:spPr>
          <a:xfrm>
            <a:off x="4958187" y="4364284"/>
            <a:ext cx="195264" cy="195264"/>
          </a:xfrm>
          <a:prstGeom prst="ellipse">
            <a:avLst/>
          </a:prstGeom>
          <a:solidFill>
            <a:srgbClr val="004C9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4" name="Oval 113"/>
          <p:cNvSpPr/>
          <p:nvPr/>
        </p:nvSpPr>
        <p:spPr>
          <a:xfrm>
            <a:off x="5749031" y="4364284"/>
            <a:ext cx="195264" cy="195264"/>
          </a:xfrm>
          <a:prstGeom prst="ellipse">
            <a:avLst/>
          </a:prstGeom>
          <a:solidFill>
            <a:srgbClr val="004C9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5" name="Oval 114"/>
          <p:cNvSpPr/>
          <p:nvPr/>
        </p:nvSpPr>
        <p:spPr>
          <a:xfrm>
            <a:off x="6611563" y="4364284"/>
            <a:ext cx="195264" cy="195264"/>
          </a:xfrm>
          <a:prstGeom prst="ellipse">
            <a:avLst/>
          </a:prstGeom>
          <a:solidFill>
            <a:srgbClr val="004C9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6" name="Half Frame 115"/>
          <p:cNvSpPr/>
          <p:nvPr/>
        </p:nvSpPr>
        <p:spPr>
          <a:xfrm rot="7980000">
            <a:off x="4321969" y="4364284"/>
            <a:ext cx="195264" cy="195264"/>
          </a:xfrm>
          <a:prstGeom prst="halfFrame">
            <a:avLst/>
          </a:prstGeom>
          <a:solidFill>
            <a:srgbClr val="004C9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117" name="Oval 116"/>
          <p:cNvSpPr/>
          <p:nvPr/>
        </p:nvSpPr>
        <p:spPr>
          <a:xfrm>
            <a:off x="7483733" y="3546971"/>
            <a:ext cx="195264" cy="195264"/>
          </a:xfrm>
          <a:prstGeom prst="ellipse">
            <a:avLst/>
          </a:prstGeom>
          <a:solidFill>
            <a:srgbClr val="004C9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8" name="Oval 117"/>
          <p:cNvSpPr/>
          <p:nvPr/>
        </p:nvSpPr>
        <p:spPr>
          <a:xfrm>
            <a:off x="7483733" y="4364284"/>
            <a:ext cx="195264" cy="195264"/>
          </a:xfrm>
          <a:prstGeom prst="ellipse">
            <a:avLst/>
          </a:prstGeom>
          <a:solidFill>
            <a:srgbClr val="004C9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422278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895350"/>
            <a:ext cx="4953000" cy="3505200"/>
          </a:xfrm>
        </p:spPr>
        <p:txBody>
          <a:bodyPr>
            <a:normAutofit/>
          </a:bodyPr>
          <a:lstStyle/>
          <a:p>
            <a:pPr algn="ctr"/>
            <a:r>
              <a:rPr lang="en-US" dirty="0" smtClean="0">
                <a:latin typeface="Arial" panose="020B0604020202020204" pitchFamily="34" charset="0"/>
                <a:cs typeface="Arial" panose="020B0604020202020204" pitchFamily="34" charset="0"/>
              </a:rPr>
              <a:t>Thank You!</a:t>
            </a:r>
            <a:br>
              <a:rPr lang="en-US" dirty="0" smtClean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USMPolicy@email.wal-mart.com</a:t>
            </a:r>
            <a:br>
              <a:rPr lang="en-US" sz="2400" dirty="0" smtClean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en-US" sz="2400" dirty="0" smtClean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Walmart.com/</a:t>
            </a:r>
            <a:r>
              <a:rPr lang="en-US" sz="24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AmericanJobs</a:t>
            </a:r>
            <a:r>
              <a:rPr lang="en-US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en-US" sz="2400" dirty="0" smtClean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en-US" sz="2400" dirty="0" smtClean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#</a:t>
            </a:r>
            <a:r>
              <a:rPr lang="en-US" sz="24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MadeInUSA</a:t>
            </a:r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478025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UrtYAtrQL.s9DzvNqVLEQ"/>
</p:tagLst>
</file>

<file path=ppt/theme/theme1.xml><?xml version="1.0" encoding="utf-8"?>
<a:theme xmlns:a="http://schemas.openxmlformats.org/drawingml/2006/main" name="General USM">
  <a:themeElements>
    <a:clrScheme name="USMfg-Dark">
      <a:dk1>
        <a:srgbClr val="11115B"/>
      </a:dk1>
      <a:lt1>
        <a:sysClr val="window" lastClr="FFFFFF"/>
      </a:lt1>
      <a:dk2>
        <a:srgbClr val="EC1D24"/>
      </a:dk2>
      <a:lt2>
        <a:srgbClr val="BFBFBF"/>
      </a:lt2>
      <a:accent1>
        <a:srgbClr val="EC1D24"/>
      </a:accent1>
      <a:accent2>
        <a:srgbClr val="11115B"/>
      </a:accent2>
      <a:accent3>
        <a:srgbClr val="007DC5"/>
      </a:accent3>
      <a:accent4>
        <a:srgbClr val="9CCDE2"/>
      </a:accent4>
      <a:accent5>
        <a:srgbClr val="607796"/>
      </a:accent5>
      <a:accent6>
        <a:srgbClr val="BFBFBF"/>
      </a:accent6>
      <a:hlink>
        <a:srgbClr val="1897D7"/>
      </a:hlink>
      <a:folHlink>
        <a:srgbClr val="1897D7"/>
      </a:folHlink>
    </a:clrScheme>
    <a:fontScheme name="US Mfg">
      <a:majorFont>
        <a:latin typeface="Myriad Pro"/>
        <a:ea typeface=""/>
        <a:cs typeface=""/>
      </a:majorFont>
      <a:minorFont>
        <a:latin typeface="Myriad Pro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>
    <a:extraClrScheme>
      <a:clrScheme name="USMfg-Dark">
        <a:dk1>
          <a:srgbClr val="11115B"/>
        </a:dk1>
        <a:lt1>
          <a:sysClr val="window" lastClr="FFFFFF"/>
        </a:lt1>
        <a:dk2>
          <a:srgbClr val="EC1D24"/>
        </a:dk2>
        <a:lt2>
          <a:srgbClr val="BFBFBF"/>
        </a:lt2>
        <a:accent1>
          <a:srgbClr val="EC1D24"/>
        </a:accent1>
        <a:accent2>
          <a:srgbClr val="11115B"/>
        </a:accent2>
        <a:accent3>
          <a:srgbClr val="007DC5"/>
        </a:accent3>
        <a:accent4>
          <a:srgbClr val="9CCDE2"/>
        </a:accent4>
        <a:accent5>
          <a:srgbClr val="607796"/>
        </a:accent5>
        <a:accent6>
          <a:srgbClr val="BFBFBF"/>
        </a:accent6>
        <a:hlink>
          <a:srgbClr val="1897D7"/>
        </a:hlink>
        <a:folHlink>
          <a:srgbClr val="1897D7"/>
        </a:folHlink>
      </a:clrScheme>
    </a:extraClrScheme>
    <a:extraClrScheme>
      <a:clrScheme name="USMfg-Bright">
        <a:dk1>
          <a:srgbClr val="007DC5"/>
        </a:dk1>
        <a:lt1>
          <a:sysClr val="window" lastClr="FFFFFF"/>
        </a:lt1>
        <a:dk2>
          <a:srgbClr val="FFC000"/>
        </a:dk2>
        <a:lt2>
          <a:srgbClr val="BFBFBF"/>
        </a:lt2>
        <a:accent1>
          <a:srgbClr val="FFC000"/>
        </a:accent1>
        <a:accent2>
          <a:srgbClr val="007DC5"/>
        </a:accent2>
        <a:accent3>
          <a:srgbClr val="F47420"/>
        </a:accent3>
        <a:accent4>
          <a:srgbClr val="11115B"/>
        </a:accent4>
        <a:accent5>
          <a:srgbClr val="9CCDE2"/>
        </a:accent5>
        <a:accent6>
          <a:srgbClr val="BFBFBF"/>
        </a:accent6>
        <a:hlink>
          <a:srgbClr val="1897D7"/>
        </a:hlink>
        <a:folHlink>
          <a:srgbClr val="1897D7"/>
        </a:folHlink>
      </a:clrScheme>
    </a:extraClrScheme>
  </a:extraClrSchemeLst>
  <a:custClrLst>
    <a:custClr name="Walmart Dark Blue">
      <a:srgbClr val="004C91"/>
    </a:custClr>
    <a:custClr name="Walmart Medium Blue">
      <a:srgbClr val="007DC6"/>
    </a:custClr>
    <a:custClr name="Walmart Light Blue">
      <a:srgbClr val="78B9E7"/>
    </a:custClr>
    <a:custClr name="Walmart Orange">
      <a:srgbClr val="F47321"/>
    </a:custClr>
    <a:custClr name="Walmart Yellow">
      <a:srgbClr val="FFC220"/>
    </a:custClr>
    <a:custClr name="Walmart Dark Green">
      <a:srgbClr val="367C2B"/>
    </a:custClr>
    <a:custClr name="Walmart Light Green">
      <a:srgbClr val="76C043"/>
    </a:custClr>
    <a:custClr name="USMfg Navy">
      <a:srgbClr val="11115B"/>
    </a:custClr>
    <a:custClr name="USMfg Medium Blue">
      <a:srgbClr val="1897D7"/>
    </a:custClr>
    <a:custClr name="USMfg Light Blue">
      <a:srgbClr val="9CCDE2"/>
    </a:custClr>
    <a:custClr name="USMfg Red">
      <a:srgbClr val="EC1D24"/>
    </a:custClr>
    <a:custClr name="USMfg Gray Blue">
      <a:srgbClr val="607796"/>
    </a:custClr>
    <a:custClr name="USMfg Light Gray">
      <a:srgbClr val="BFBFBF"/>
    </a:custClr>
  </a:custClrLst>
  <a:extLst>
    <a:ext uri="{05A4C25C-085E-4340-85A3-A5531E510DB2}">
      <thm15:themeFamily xmlns:thm15="http://schemas.microsoft.com/office/thememl/2012/main" name="USMfgWalkaround" id="{7203A7DC-C575-472F-940F-3926681E5D24}" vid="{4D339229-2CD1-47AA-89F1-518983D01952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905</TotalTime>
  <Words>161</Words>
  <Application>Microsoft Office PowerPoint</Application>
  <PresentationFormat>On-screen Show (16:9)</PresentationFormat>
  <Paragraphs>44</Paragraphs>
  <Slides>6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6</vt:i4>
      </vt:variant>
    </vt:vector>
  </HeadingPairs>
  <TitlesOfParts>
    <vt:vector size="13" baseType="lpstr">
      <vt:lpstr>Arial</vt:lpstr>
      <vt:lpstr>Avenir Book</vt:lpstr>
      <vt:lpstr>Calibri</vt:lpstr>
      <vt:lpstr>Myriad Pro</vt:lpstr>
      <vt:lpstr>Wingdings</vt:lpstr>
      <vt:lpstr>General USM</vt:lpstr>
      <vt:lpstr>think-cell Slide</vt:lpstr>
      <vt:lpstr>A Policy Roadmap to Renew U.S. Manufacturing</vt:lpstr>
      <vt:lpstr>$250B</vt:lpstr>
      <vt:lpstr>Trends Driving Growth of U.S. Manufacturing</vt:lpstr>
      <vt:lpstr>Policy Barriers</vt:lpstr>
      <vt:lpstr>The First Five Policy Levers </vt:lpstr>
      <vt:lpstr>Thank You!  USMPolicy@email.wal-mart.com  Walmart.com/AmericanJobs  #MadeInUSA</vt:lpstr>
    </vt:vector>
  </TitlesOfParts>
  <Company>Wal-Mart Stores, Inc.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Scott Gutche</dc:creator>
  <cp:lastModifiedBy>Chase Foster</cp:lastModifiedBy>
  <cp:revision>68</cp:revision>
  <dcterms:created xsi:type="dcterms:W3CDTF">2017-04-06T14:20:47Z</dcterms:created>
  <dcterms:modified xsi:type="dcterms:W3CDTF">2017-09-06T14:58:0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3" name="_NewReviewCycle">
    <vt:lpwstr/>
  </property>
</Properties>
</file>